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69" r:id="rId3"/>
    <p:sldId id="271" r:id="rId4"/>
    <p:sldId id="270" r:id="rId5"/>
    <p:sldId id="258" r:id="rId6"/>
    <p:sldId id="276" r:id="rId7"/>
    <p:sldId id="274" r:id="rId8"/>
    <p:sldId id="273" r:id="rId9"/>
    <p:sldId id="261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0B"/>
    <a:srgbClr val="CE6900"/>
    <a:srgbClr val="EA9600"/>
    <a:srgbClr val="F49F00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6182" autoAdjust="0"/>
  </p:normalViewPr>
  <p:slideViewPr>
    <p:cSldViewPr snapToGrid="0">
      <p:cViewPr varScale="1">
        <p:scale>
          <a:sx n="54" d="100"/>
          <a:sy n="54" d="100"/>
        </p:scale>
        <p:origin x="108" y="38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8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EDF33427-A729-487E-944F-F670922B0C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734550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5006" y="1828891"/>
            <a:ext cx="10821988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85006" y="1130300"/>
            <a:ext cx="10821988" cy="698591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652194" y="270707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653310" y="360242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="" xmlns:a16="http://schemas.microsoft.com/office/drawing/2014/main" id="{215544EF-6E38-4470-8432-AF40D544BBDF}"/>
              </a:ext>
            </a:extLst>
          </p:cNvPr>
          <p:cNvGrpSpPr/>
          <p:nvPr userDrawn="1"/>
        </p:nvGrpSpPr>
        <p:grpSpPr>
          <a:xfrm>
            <a:off x="1048298" y="1362129"/>
            <a:ext cx="4269841" cy="4259865"/>
            <a:chOff x="3379788" y="717550"/>
            <a:chExt cx="5435600" cy="5422900"/>
          </a:xfrm>
        </p:grpSpPr>
        <p:sp>
          <p:nvSpPr>
            <p:cNvPr id="5" name="Freeform 5">
              <a:extLst>
                <a:ext uri="{FF2B5EF4-FFF2-40B4-BE49-F238E27FC236}">
                  <a16:creationId xmlns="" xmlns:a16="http://schemas.microsoft.com/office/drawing/2014/main" id="{28602439-1C1B-42C6-97C5-210F65C7C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8363" y="917575"/>
              <a:ext cx="5378450" cy="5022850"/>
            </a:xfrm>
            <a:custGeom>
              <a:avLst/>
              <a:gdLst>
                <a:gd name="T0" fmla="*/ 1688 w 1688"/>
                <a:gd name="T1" fmla="*/ 789 h 1578"/>
                <a:gd name="T2" fmla="*/ 1298 w 1688"/>
                <a:gd name="T3" fmla="*/ 1051 h 1578"/>
                <a:gd name="T4" fmla="*/ 1266 w 1688"/>
                <a:gd name="T5" fmla="*/ 1520 h 1578"/>
                <a:gd name="T6" fmla="*/ 844 w 1688"/>
                <a:gd name="T7" fmla="*/ 1313 h 1578"/>
                <a:gd name="T8" fmla="*/ 422 w 1688"/>
                <a:gd name="T9" fmla="*/ 1520 h 1578"/>
                <a:gd name="T10" fmla="*/ 390 w 1688"/>
                <a:gd name="T11" fmla="*/ 1051 h 1578"/>
                <a:gd name="T12" fmla="*/ 0 w 1688"/>
                <a:gd name="T13" fmla="*/ 789 h 1578"/>
                <a:gd name="T14" fmla="*/ 390 w 1688"/>
                <a:gd name="T15" fmla="*/ 527 h 1578"/>
                <a:gd name="T16" fmla="*/ 422 w 1688"/>
                <a:gd name="T17" fmla="*/ 58 h 1578"/>
                <a:gd name="T18" fmla="*/ 844 w 1688"/>
                <a:gd name="T19" fmla="*/ 265 h 1578"/>
                <a:gd name="T20" fmla="*/ 1266 w 1688"/>
                <a:gd name="T21" fmla="*/ 58 h 1578"/>
                <a:gd name="T22" fmla="*/ 1298 w 1688"/>
                <a:gd name="T23" fmla="*/ 527 h 1578"/>
                <a:gd name="T24" fmla="*/ 1688 w 1688"/>
                <a:gd name="T25" fmla="*/ 789 h 1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8" h="1578">
                  <a:moveTo>
                    <a:pt x="1688" y="789"/>
                  </a:moveTo>
                  <a:cubicBezTo>
                    <a:pt x="1688" y="914"/>
                    <a:pt x="1356" y="950"/>
                    <a:pt x="1298" y="1051"/>
                  </a:cubicBezTo>
                  <a:cubicBezTo>
                    <a:pt x="1238" y="1155"/>
                    <a:pt x="1370" y="1460"/>
                    <a:pt x="1266" y="1520"/>
                  </a:cubicBezTo>
                  <a:cubicBezTo>
                    <a:pt x="1166" y="1578"/>
                    <a:pt x="969" y="1313"/>
                    <a:pt x="844" y="1313"/>
                  </a:cubicBezTo>
                  <a:cubicBezTo>
                    <a:pt x="719" y="1313"/>
                    <a:pt x="522" y="1578"/>
                    <a:pt x="422" y="1520"/>
                  </a:cubicBezTo>
                  <a:cubicBezTo>
                    <a:pt x="318" y="1460"/>
                    <a:pt x="450" y="1155"/>
                    <a:pt x="390" y="1051"/>
                  </a:cubicBezTo>
                  <a:cubicBezTo>
                    <a:pt x="332" y="950"/>
                    <a:pt x="0" y="914"/>
                    <a:pt x="0" y="789"/>
                  </a:cubicBezTo>
                  <a:cubicBezTo>
                    <a:pt x="0" y="664"/>
                    <a:pt x="332" y="628"/>
                    <a:pt x="390" y="527"/>
                  </a:cubicBezTo>
                  <a:cubicBezTo>
                    <a:pt x="450" y="423"/>
                    <a:pt x="318" y="118"/>
                    <a:pt x="422" y="58"/>
                  </a:cubicBezTo>
                  <a:cubicBezTo>
                    <a:pt x="522" y="0"/>
                    <a:pt x="719" y="265"/>
                    <a:pt x="844" y="265"/>
                  </a:cubicBezTo>
                  <a:cubicBezTo>
                    <a:pt x="969" y="265"/>
                    <a:pt x="1166" y="0"/>
                    <a:pt x="1266" y="58"/>
                  </a:cubicBezTo>
                  <a:cubicBezTo>
                    <a:pt x="1370" y="118"/>
                    <a:pt x="1238" y="423"/>
                    <a:pt x="1298" y="527"/>
                  </a:cubicBezTo>
                  <a:cubicBezTo>
                    <a:pt x="1356" y="628"/>
                    <a:pt x="1688" y="664"/>
                    <a:pt x="1688" y="7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="" xmlns:a16="http://schemas.microsoft.com/office/drawing/2014/main" id="{75112A1C-A447-4F1E-86D7-2E711F2DA0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2488" y="866775"/>
              <a:ext cx="5410200" cy="5124450"/>
            </a:xfrm>
            <a:custGeom>
              <a:avLst/>
              <a:gdLst>
                <a:gd name="T0" fmla="*/ 1692 w 1698"/>
                <a:gd name="T1" fmla="*/ 761 h 1610"/>
                <a:gd name="T2" fmla="*/ 1316 w 1698"/>
                <a:gd name="T3" fmla="*/ 1043 h 1610"/>
                <a:gd name="T4" fmla="*/ 1309 w 1698"/>
                <a:gd name="T5" fmla="*/ 1513 h 1610"/>
                <a:gd name="T6" fmla="*/ 876 w 1698"/>
                <a:gd name="T7" fmla="*/ 1328 h 1610"/>
                <a:gd name="T8" fmla="*/ 466 w 1698"/>
                <a:gd name="T9" fmla="*/ 1557 h 1610"/>
                <a:gd name="T10" fmla="*/ 409 w 1698"/>
                <a:gd name="T11" fmla="*/ 1090 h 1610"/>
                <a:gd name="T12" fmla="*/ 6 w 1698"/>
                <a:gd name="T13" fmla="*/ 849 h 1610"/>
                <a:gd name="T14" fmla="*/ 382 w 1698"/>
                <a:gd name="T15" fmla="*/ 567 h 1610"/>
                <a:gd name="T16" fmla="*/ 389 w 1698"/>
                <a:gd name="T17" fmla="*/ 97 h 1610"/>
                <a:gd name="T18" fmla="*/ 822 w 1698"/>
                <a:gd name="T19" fmla="*/ 282 h 1610"/>
                <a:gd name="T20" fmla="*/ 1232 w 1698"/>
                <a:gd name="T21" fmla="*/ 53 h 1610"/>
                <a:gd name="T22" fmla="*/ 1289 w 1698"/>
                <a:gd name="T23" fmla="*/ 520 h 1610"/>
                <a:gd name="T24" fmla="*/ 1692 w 1698"/>
                <a:gd name="T25" fmla="*/ 761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8" h="1610">
                  <a:moveTo>
                    <a:pt x="1692" y="761"/>
                  </a:moveTo>
                  <a:cubicBezTo>
                    <a:pt x="1698" y="885"/>
                    <a:pt x="1369" y="939"/>
                    <a:pt x="1316" y="1043"/>
                  </a:cubicBezTo>
                  <a:cubicBezTo>
                    <a:pt x="1262" y="1150"/>
                    <a:pt x="1409" y="1447"/>
                    <a:pt x="1309" y="1513"/>
                  </a:cubicBezTo>
                  <a:cubicBezTo>
                    <a:pt x="1211" y="1576"/>
                    <a:pt x="1001" y="1322"/>
                    <a:pt x="876" y="1328"/>
                  </a:cubicBezTo>
                  <a:cubicBezTo>
                    <a:pt x="752" y="1335"/>
                    <a:pt x="569" y="1610"/>
                    <a:pt x="466" y="1557"/>
                  </a:cubicBezTo>
                  <a:cubicBezTo>
                    <a:pt x="359" y="1503"/>
                    <a:pt x="475" y="1191"/>
                    <a:pt x="409" y="1090"/>
                  </a:cubicBezTo>
                  <a:cubicBezTo>
                    <a:pt x="346" y="993"/>
                    <a:pt x="13" y="974"/>
                    <a:pt x="6" y="849"/>
                  </a:cubicBezTo>
                  <a:cubicBezTo>
                    <a:pt x="0" y="725"/>
                    <a:pt x="329" y="671"/>
                    <a:pt x="382" y="567"/>
                  </a:cubicBezTo>
                  <a:cubicBezTo>
                    <a:pt x="436" y="460"/>
                    <a:pt x="289" y="163"/>
                    <a:pt x="389" y="97"/>
                  </a:cubicBezTo>
                  <a:cubicBezTo>
                    <a:pt x="487" y="34"/>
                    <a:pt x="697" y="288"/>
                    <a:pt x="822" y="282"/>
                  </a:cubicBezTo>
                  <a:cubicBezTo>
                    <a:pt x="946" y="275"/>
                    <a:pt x="1129" y="0"/>
                    <a:pt x="1232" y="53"/>
                  </a:cubicBezTo>
                  <a:cubicBezTo>
                    <a:pt x="1339" y="107"/>
                    <a:pt x="1223" y="419"/>
                    <a:pt x="1289" y="520"/>
                  </a:cubicBezTo>
                  <a:cubicBezTo>
                    <a:pt x="1352" y="617"/>
                    <a:pt x="1685" y="636"/>
                    <a:pt x="1692" y="761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="" xmlns:a16="http://schemas.microsoft.com/office/drawing/2014/main" id="{8860E805-3C85-4EB6-BD84-57AD8DD9E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2963" y="825500"/>
              <a:ext cx="5429250" cy="5207000"/>
            </a:xfrm>
            <a:custGeom>
              <a:avLst/>
              <a:gdLst>
                <a:gd name="T0" fmla="*/ 1691 w 1704"/>
                <a:gd name="T1" fmla="*/ 730 h 1636"/>
                <a:gd name="T2" fmla="*/ 1331 w 1704"/>
                <a:gd name="T3" fmla="*/ 1031 h 1636"/>
                <a:gd name="T4" fmla="*/ 1348 w 1704"/>
                <a:gd name="T5" fmla="*/ 1501 h 1636"/>
                <a:gd name="T6" fmla="*/ 907 w 1704"/>
                <a:gd name="T7" fmla="*/ 1339 h 1636"/>
                <a:gd name="T8" fmla="*/ 509 w 1704"/>
                <a:gd name="T9" fmla="*/ 1589 h 1636"/>
                <a:gd name="T10" fmla="*/ 428 w 1704"/>
                <a:gd name="T11" fmla="*/ 1126 h 1636"/>
                <a:gd name="T12" fmla="*/ 13 w 1704"/>
                <a:gd name="T13" fmla="*/ 906 h 1636"/>
                <a:gd name="T14" fmla="*/ 373 w 1704"/>
                <a:gd name="T15" fmla="*/ 605 h 1636"/>
                <a:gd name="T16" fmla="*/ 356 w 1704"/>
                <a:gd name="T17" fmla="*/ 135 h 1636"/>
                <a:gd name="T18" fmla="*/ 797 w 1704"/>
                <a:gd name="T19" fmla="*/ 297 h 1636"/>
                <a:gd name="T20" fmla="*/ 1195 w 1704"/>
                <a:gd name="T21" fmla="*/ 47 h 1636"/>
                <a:gd name="T22" fmla="*/ 1276 w 1704"/>
                <a:gd name="T23" fmla="*/ 510 h 1636"/>
                <a:gd name="T24" fmla="*/ 1691 w 1704"/>
                <a:gd name="T25" fmla="*/ 730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4" h="1636">
                  <a:moveTo>
                    <a:pt x="1691" y="730"/>
                  </a:moveTo>
                  <a:cubicBezTo>
                    <a:pt x="1704" y="854"/>
                    <a:pt x="1378" y="925"/>
                    <a:pt x="1331" y="1031"/>
                  </a:cubicBezTo>
                  <a:cubicBezTo>
                    <a:pt x="1282" y="1141"/>
                    <a:pt x="1445" y="1430"/>
                    <a:pt x="1348" y="1501"/>
                  </a:cubicBezTo>
                  <a:cubicBezTo>
                    <a:pt x="1254" y="1569"/>
                    <a:pt x="1031" y="1326"/>
                    <a:pt x="907" y="1339"/>
                  </a:cubicBezTo>
                  <a:cubicBezTo>
                    <a:pt x="783" y="1352"/>
                    <a:pt x="615" y="1636"/>
                    <a:pt x="509" y="1589"/>
                  </a:cubicBezTo>
                  <a:cubicBezTo>
                    <a:pt x="399" y="1540"/>
                    <a:pt x="498" y="1223"/>
                    <a:pt x="428" y="1126"/>
                  </a:cubicBezTo>
                  <a:cubicBezTo>
                    <a:pt x="359" y="1032"/>
                    <a:pt x="26" y="1030"/>
                    <a:pt x="13" y="906"/>
                  </a:cubicBezTo>
                  <a:cubicBezTo>
                    <a:pt x="0" y="782"/>
                    <a:pt x="326" y="711"/>
                    <a:pt x="373" y="605"/>
                  </a:cubicBezTo>
                  <a:cubicBezTo>
                    <a:pt x="422" y="495"/>
                    <a:pt x="259" y="206"/>
                    <a:pt x="356" y="135"/>
                  </a:cubicBezTo>
                  <a:cubicBezTo>
                    <a:pt x="450" y="67"/>
                    <a:pt x="673" y="310"/>
                    <a:pt x="797" y="297"/>
                  </a:cubicBezTo>
                  <a:cubicBezTo>
                    <a:pt x="921" y="284"/>
                    <a:pt x="1089" y="0"/>
                    <a:pt x="1195" y="47"/>
                  </a:cubicBezTo>
                  <a:cubicBezTo>
                    <a:pt x="1305" y="96"/>
                    <a:pt x="1206" y="413"/>
                    <a:pt x="1276" y="510"/>
                  </a:cubicBezTo>
                  <a:cubicBezTo>
                    <a:pt x="1345" y="604"/>
                    <a:pt x="1678" y="606"/>
                    <a:pt x="1691" y="730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="" xmlns:a16="http://schemas.microsoft.com/office/drawing/2014/main" id="{8ECE0B88-ACC2-49F8-8E8C-863B064668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9788" y="787400"/>
              <a:ext cx="5435600" cy="5283200"/>
            </a:xfrm>
            <a:custGeom>
              <a:avLst/>
              <a:gdLst>
                <a:gd name="T0" fmla="*/ 1687 w 1706"/>
                <a:gd name="T1" fmla="*/ 698 h 1660"/>
                <a:gd name="T2" fmla="*/ 1342 w 1706"/>
                <a:gd name="T3" fmla="*/ 1018 h 1660"/>
                <a:gd name="T4" fmla="*/ 1384 w 1706"/>
                <a:gd name="T5" fmla="*/ 1486 h 1660"/>
                <a:gd name="T6" fmla="*/ 935 w 1706"/>
                <a:gd name="T7" fmla="*/ 1348 h 1660"/>
                <a:gd name="T8" fmla="*/ 550 w 1706"/>
                <a:gd name="T9" fmla="*/ 1618 h 1660"/>
                <a:gd name="T10" fmla="*/ 446 w 1706"/>
                <a:gd name="T11" fmla="*/ 1160 h 1660"/>
                <a:gd name="T12" fmla="*/ 19 w 1706"/>
                <a:gd name="T13" fmla="*/ 962 h 1660"/>
                <a:gd name="T14" fmla="*/ 364 w 1706"/>
                <a:gd name="T15" fmla="*/ 642 h 1660"/>
                <a:gd name="T16" fmla="*/ 322 w 1706"/>
                <a:gd name="T17" fmla="*/ 174 h 1660"/>
                <a:gd name="T18" fmla="*/ 771 w 1706"/>
                <a:gd name="T19" fmla="*/ 312 h 1660"/>
                <a:gd name="T20" fmla="*/ 1156 w 1706"/>
                <a:gd name="T21" fmla="*/ 42 h 1660"/>
                <a:gd name="T22" fmla="*/ 1260 w 1706"/>
                <a:gd name="T23" fmla="*/ 500 h 1660"/>
                <a:gd name="T24" fmla="*/ 1687 w 1706"/>
                <a:gd name="T25" fmla="*/ 698 h 1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6" h="1660">
                  <a:moveTo>
                    <a:pt x="1687" y="698"/>
                  </a:moveTo>
                  <a:cubicBezTo>
                    <a:pt x="1706" y="821"/>
                    <a:pt x="1384" y="909"/>
                    <a:pt x="1342" y="1018"/>
                  </a:cubicBezTo>
                  <a:cubicBezTo>
                    <a:pt x="1299" y="1130"/>
                    <a:pt x="1477" y="1410"/>
                    <a:pt x="1384" y="1486"/>
                  </a:cubicBezTo>
                  <a:cubicBezTo>
                    <a:pt x="1294" y="1559"/>
                    <a:pt x="1058" y="1328"/>
                    <a:pt x="935" y="1348"/>
                  </a:cubicBezTo>
                  <a:cubicBezTo>
                    <a:pt x="812" y="1367"/>
                    <a:pt x="659" y="1660"/>
                    <a:pt x="550" y="1618"/>
                  </a:cubicBezTo>
                  <a:cubicBezTo>
                    <a:pt x="438" y="1575"/>
                    <a:pt x="521" y="1253"/>
                    <a:pt x="446" y="1160"/>
                  </a:cubicBezTo>
                  <a:cubicBezTo>
                    <a:pt x="372" y="1069"/>
                    <a:pt x="39" y="1085"/>
                    <a:pt x="19" y="962"/>
                  </a:cubicBezTo>
                  <a:cubicBezTo>
                    <a:pt x="0" y="839"/>
                    <a:pt x="322" y="751"/>
                    <a:pt x="364" y="642"/>
                  </a:cubicBezTo>
                  <a:cubicBezTo>
                    <a:pt x="407" y="530"/>
                    <a:pt x="229" y="250"/>
                    <a:pt x="322" y="174"/>
                  </a:cubicBezTo>
                  <a:cubicBezTo>
                    <a:pt x="412" y="101"/>
                    <a:pt x="648" y="332"/>
                    <a:pt x="771" y="312"/>
                  </a:cubicBezTo>
                  <a:cubicBezTo>
                    <a:pt x="894" y="293"/>
                    <a:pt x="1047" y="0"/>
                    <a:pt x="1156" y="42"/>
                  </a:cubicBezTo>
                  <a:cubicBezTo>
                    <a:pt x="1268" y="85"/>
                    <a:pt x="1185" y="407"/>
                    <a:pt x="1260" y="500"/>
                  </a:cubicBezTo>
                  <a:cubicBezTo>
                    <a:pt x="1334" y="591"/>
                    <a:pt x="1667" y="575"/>
                    <a:pt x="1687" y="698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="" xmlns:a16="http://schemas.microsoft.com/office/drawing/2014/main" id="{B99F65E3-413A-49C9-AE8E-988BB87B3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6138" y="758825"/>
              <a:ext cx="5422900" cy="5340350"/>
            </a:xfrm>
            <a:custGeom>
              <a:avLst/>
              <a:gdLst>
                <a:gd name="T0" fmla="*/ 1677 w 1702"/>
                <a:gd name="T1" fmla="*/ 664 h 1678"/>
                <a:gd name="T2" fmla="*/ 1350 w 1702"/>
                <a:gd name="T3" fmla="*/ 1001 h 1678"/>
                <a:gd name="T4" fmla="*/ 1416 w 1702"/>
                <a:gd name="T5" fmla="*/ 1466 h 1678"/>
                <a:gd name="T6" fmla="*/ 960 w 1702"/>
                <a:gd name="T7" fmla="*/ 1352 h 1678"/>
                <a:gd name="T8" fmla="*/ 590 w 1702"/>
                <a:gd name="T9" fmla="*/ 1642 h 1678"/>
                <a:gd name="T10" fmla="*/ 461 w 1702"/>
                <a:gd name="T11" fmla="*/ 1190 h 1678"/>
                <a:gd name="T12" fmla="*/ 25 w 1702"/>
                <a:gd name="T13" fmla="*/ 1014 h 1678"/>
                <a:gd name="T14" fmla="*/ 352 w 1702"/>
                <a:gd name="T15" fmla="*/ 677 h 1678"/>
                <a:gd name="T16" fmla="*/ 286 w 1702"/>
                <a:gd name="T17" fmla="*/ 212 h 1678"/>
                <a:gd name="T18" fmla="*/ 742 w 1702"/>
                <a:gd name="T19" fmla="*/ 326 h 1678"/>
                <a:gd name="T20" fmla="*/ 1112 w 1702"/>
                <a:gd name="T21" fmla="*/ 36 h 1678"/>
                <a:gd name="T22" fmla="*/ 1241 w 1702"/>
                <a:gd name="T23" fmla="*/ 488 h 1678"/>
                <a:gd name="T24" fmla="*/ 1677 w 1702"/>
                <a:gd name="T25" fmla="*/ 664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2" h="1678">
                  <a:moveTo>
                    <a:pt x="1677" y="664"/>
                  </a:moveTo>
                  <a:cubicBezTo>
                    <a:pt x="1702" y="785"/>
                    <a:pt x="1386" y="890"/>
                    <a:pt x="1350" y="1001"/>
                  </a:cubicBezTo>
                  <a:cubicBezTo>
                    <a:pt x="1312" y="1115"/>
                    <a:pt x="1505" y="1386"/>
                    <a:pt x="1416" y="1466"/>
                  </a:cubicBezTo>
                  <a:cubicBezTo>
                    <a:pt x="1330" y="1544"/>
                    <a:pt x="1082" y="1326"/>
                    <a:pt x="960" y="1352"/>
                  </a:cubicBezTo>
                  <a:cubicBezTo>
                    <a:pt x="838" y="1377"/>
                    <a:pt x="701" y="1678"/>
                    <a:pt x="590" y="1642"/>
                  </a:cubicBezTo>
                  <a:cubicBezTo>
                    <a:pt x="476" y="1605"/>
                    <a:pt x="542" y="1279"/>
                    <a:pt x="461" y="1190"/>
                  </a:cubicBezTo>
                  <a:cubicBezTo>
                    <a:pt x="384" y="1103"/>
                    <a:pt x="51" y="1136"/>
                    <a:pt x="25" y="1014"/>
                  </a:cubicBezTo>
                  <a:cubicBezTo>
                    <a:pt x="0" y="893"/>
                    <a:pt x="316" y="788"/>
                    <a:pt x="352" y="677"/>
                  </a:cubicBezTo>
                  <a:cubicBezTo>
                    <a:pt x="390" y="563"/>
                    <a:pt x="197" y="292"/>
                    <a:pt x="286" y="212"/>
                  </a:cubicBezTo>
                  <a:cubicBezTo>
                    <a:pt x="372" y="134"/>
                    <a:pt x="620" y="352"/>
                    <a:pt x="742" y="326"/>
                  </a:cubicBezTo>
                  <a:cubicBezTo>
                    <a:pt x="864" y="301"/>
                    <a:pt x="1001" y="0"/>
                    <a:pt x="1112" y="36"/>
                  </a:cubicBezTo>
                  <a:cubicBezTo>
                    <a:pt x="1226" y="73"/>
                    <a:pt x="1160" y="399"/>
                    <a:pt x="1241" y="488"/>
                  </a:cubicBezTo>
                  <a:cubicBezTo>
                    <a:pt x="1318" y="575"/>
                    <a:pt x="1651" y="542"/>
                    <a:pt x="1677" y="664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0">
              <a:extLst>
                <a:ext uri="{FF2B5EF4-FFF2-40B4-BE49-F238E27FC236}">
                  <a16:creationId xmlns="" xmlns:a16="http://schemas.microsoft.com/office/drawing/2014/main" id="{06FC64C6-69A1-4AD7-AB5A-73DEFB20C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8838" y="736600"/>
              <a:ext cx="5397500" cy="5384800"/>
            </a:xfrm>
            <a:custGeom>
              <a:avLst/>
              <a:gdLst>
                <a:gd name="T0" fmla="*/ 1662 w 1694"/>
                <a:gd name="T1" fmla="*/ 628 h 1692"/>
                <a:gd name="T2" fmla="*/ 1353 w 1694"/>
                <a:gd name="T3" fmla="*/ 981 h 1692"/>
                <a:gd name="T4" fmla="*/ 1444 w 1694"/>
                <a:gd name="T5" fmla="*/ 1443 h 1692"/>
                <a:gd name="T6" fmla="*/ 983 w 1694"/>
                <a:gd name="T7" fmla="*/ 1352 h 1692"/>
                <a:gd name="T8" fmla="*/ 628 w 1694"/>
                <a:gd name="T9" fmla="*/ 1661 h 1692"/>
                <a:gd name="T10" fmla="*/ 476 w 1694"/>
                <a:gd name="T11" fmla="*/ 1216 h 1692"/>
                <a:gd name="T12" fmla="*/ 32 w 1694"/>
                <a:gd name="T13" fmla="*/ 1064 h 1692"/>
                <a:gd name="T14" fmla="*/ 341 w 1694"/>
                <a:gd name="T15" fmla="*/ 711 h 1692"/>
                <a:gd name="T16" fmla="*/ 250 w 1694"/>
                <a:gd name="T17" fmla="*/ 249 h 1692"/>
                <a:gd name="T18" fmla="*/ 711 w 1694"/>
                <a:gd name="T19" fmla="*/ 340 h 1692"/>
                <a:gd name="T20" fmla="*/ 1066 w 1694"/>
                <a:gd name="T21" fmla="*/ 31 h 1692"/>
                <a:gd name="T22" fmla="*/ 1218 w 1694"/>
                <a:gd name="T23" fmla="*/ 476 h 1692"/>
                <a:gd name="T24" fmla="*/ 1662 w 1694"/>
                <a:gd name="T25" fmla="*/ 628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4" h="1692">
                  <a:moveTo>
                    <a:pt x="1662" y="628"/>
                  </a:moveTo>
                  <a:cubicBezTo>
                    <a:pt x="1694" y="748"/>
                    <a:pt x="1383" y="869"/>
                    <a:pt x="1353" y="981"/>
                  </a:cubicBezTo>
                  <a:cubicBezTo>
                    <a:pt x="1322" y="1097"/>
                    <a:pt x="1529" y="1358"/>
                    <a:pt x="1444" y="1443"/>
                  </a:cubicBezTo>
                  <a:cubicBezTo>
                    <a:pt x="1362" y="1525"/>
                    <a:pt x="1103" y="1320"/>
                    <a:pt x="983" y="1352"/>
                  </a:cubicBezTo>
                  <a:cubicBezTo>
                    <a:pt x="862" y="1384"/>
                    <a:pt x="741" y="1692"/>
                    <a:pt x="628" y="1661"/>
                  </a:cubicBezTo>
                  <a:cubicBezTo>
                    <a:pt x="513" y="1630"/>
                    <a:pt x="561" y="1301"/>
                    <a:pt x="476" y="1216"/>
                  </a:cubicBezTo>
                  <a:cubicBezTo>
                    <a:pt x="394" y="1134"/>
                    <a:pt x="64" y="1185"/>
                    <a:pt x="32" y="1064"/>
                  </a:cubicBezTo>
                  <a:cubicBezTo>
                    <a:pt x="0" y="944"/>
                    <a:pt x="311" y="823"/>
                    <a:pt x="341" y="711"/>
                  </a:cubicBezTo>
                  <a:cubicBezTo>
                    <a:pt x="372" y="595"/>
                    <a:pt x="165" y="334"/>
                    <a:pt x="250" y="249"/>
                  </a:cubicBezTo>
                  <a:cubicBezTo>
                    <a:pt x="332" y="167"/>
                    <a:pt x="591" y="372"/>
                    <a:pt x="711" y="340"/>
                  </a:cubicBezTo>
                  <a:cubicBezTo>
                    <a:pt x="832" y="308"/>
                    <a:pt x="953" y="0"/>
                    <a:pt x="1066" y="31"/>
                  </a:cubicBezTo>
                  <a:cubicBezTo>
                    <a:pt x="1181" y="62"/>
                    <a:pt x="1133" y="391"/>
                    <a:pt x="1218" y="476"/>
                  </a:cubicBezTo>
                  <a:cubicBezTo>
                    <a:pt x="1300" y="558"/>
                    <a:pt x="1630" y="507"/>
                    <a:pt x="1662" y="628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1">
              <a:extLst>
                <a:ext uri="{FF2B5EF4-FFF2-40B4-BE49-F238E27FC236}">
                  <a16:creationId xmlns="" xmlns:a16="http://schemas.microsoft.com/office/drawing/2014/main" id="{F23CD053-5D7A-47C6-90B3-999F8AC2D2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7888" y="723900"/>
              <a:ext cx="5359400" cy="5410200"/>
            </a:xfrm>
            <a:custGeom>
              <a:avLst/>
              <a:gdLst>
                <a:gd name="T0" fmla="*/ 1644 w 1682"/>
                <a:gd name="T1" fmla="*/ 589 h 1700"/>
                <a:gd name="T2" fmla="*/ 1354 w 1682"/>
                <a:gd name="T3" fmla="*/ 959 h 1700"/>
                <a:gd name="T4" fmla="*/ 1468 w 1682"/>
                <a:gd name="T5" fmla="*/ 1415 h 1700"/>
                <a:gd name="T6" fmla="*/ 1003 w 1682"/>
                <a:gd name="T7" fmla="*/ 1348 h 1700"/>
                <a:gd name="T8" fmla="*/ 665 w 1682"/>
                <a:gd name="T9" fmla="*/ 1676 h 1700"/>
                <a:gd name="T10" fmla="*/ 490 w 1682"/>
                <a:gd name="T11" fmla="*/ 1239 h 1700"/>
                <a:gd name="T12" fmla="*/ 38 w 1682"/>
                <a:gd name="T13" fmla="*/ 1111 h 1700"/>
                <a:gd name="T14" fmla="*/ 328 w 1682"/>
                <a:gd name="T15" fmla="*/ 741 h 1700"/>
                <a:gd name="T16" fmla="*/ 214 w 1682"/>
                <a:gd name="T17" fmla="*/ 285 h 1700"/>
                <a:gd name="T18" fmla="*/ 679 w 1682"/>
                <a:gd name="T19" fmla="*/ 352 h 1700"/>
                <a:gd name="T20" fmla="*/ 1017 w 1682"/>
                <a:gd name="T21" fmla="*/ 24 h 1700"/>
                <a:gd name="T22" fmla="*/ 1192 w 1682"/>
                <a:gd name="T23" fmla="*/ 461 h 1700"/>
                <a:gd name="T24" fmla="*/ 1644 w 1682"/>
                <a:gd name="T25" fmla="*/ 589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2" h="1700">
                  <a:moveTo>
                    <a:pt x="1644" y="589"/>
                  </a:moveTo>
                  <a:cubicBezTo>
                    <a:pt x="1682" y="708"/>
                    <a:pt x="1378" y="845"/>
                    <a:pt x="1354" y="959"/>
                  </a:cubicBezTo>
                  <a:cubicBezTo>
                    <a:pt x="1329" y="1076"/>
                    <a:pt x="1549" y="1326"/>
                    <a:pt x="1468" y="1415"/>
                  </a:cubicBezTo>
                  <a:cubicBezTo>
                    <a:pt x="1391" y="1501"/>
                    <a:pt x="1121" y="1310"/>
                    <a:pt x="1003" y="1348"/>
                  </a:cubicBezTo>
                  <a:cubicBezTo>
                    <a:pt x="884" y="1387"/>
                    <a:pt x="779" y="1700"/>
                    <a:pt x="665" y="1676"/>
                  </a:cubicBezTo>
                  <a:cubicBezTo>
                    <a:pt x="548" y="1651"/>
                    <a:pt x="579" y="1320"/>
                    <a:pt x="490" y="1239"/>
                  </a:cubicBezTo>
                  <a:cubicBezTo>
                    <a:pt x="404" y="1162"/>
                    <a:pt x="77" y="1229"/>
                    <a:pt x="38" y="1111"/>
                  </a:cubicBezTo>
                  <a:cubicBezTo>
                    <a:pt x="0" y="992"/>
                    <a:pt x="304" y="855"/>
                    <a:pt x="328" y="741"/>
                  </a:cubicBezTo>
                  <a:cubicBezTo>
                    <a:pt x="353" y="624"/>
                    <a:pt x="133" y="374"/>
                    <a:pt x="214" y="285"/>
                  </a:cubicBezTo>
                  <a:cubicBezTo>
                    <a:pt x="291" y="199"/>
                    <a:pt x="561" y="390"/>
                    <a:pt x="679" y="352"/>
                  </a:cubicBezTo>
                  <a:cubicBezTo>
                    <a:pt x="798" y="313"/>
                    <a:pt x="903" y="0"/>
                    <a:pt x="1017" y="24"/>
                  </a:cubicBezTo>
                  <a:cubicBezTo>
                    <a:pt x="1134" y="49"/>
                    <a:pt x="1103" y="380"/>
                    <a:pt x="1192" y="461"/>
                  </a:cubicBezTo>
                  <a:cubicBezTo>
                    <a:pt x="1278" y="538"/>
                    <a:pt x="1605" y="471"/>
                    <a:pt x="1644" y="5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2">
              <a:extLst>
                <a:ext uri="{FF2B5EF4-FFF2-40B4-BE49-F238E27FC236}">
                  <a16:creationId xmlns="" xmlns:a16="http://schemas.microsoft.com/office/drawing/2014/main" id="{7ED9278C-2F04-451A-9CB2-F8A905B7CF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3288" y="717550"/>
              <a:ext cx="5308600" cy="5422900"/>
            </a:xfrm>
            <a:custGeom>
              <a:avLst/>
              <a:gdLst>
                <a:gd name="T0" fmla="*/ 1621 w 1666"/>
                <a:gd name="T1" fmla="*/ 550 h 1704"/>
                <a:gd name="T2" fmla="*/ 1351 w 1666"/>
                <a:gd name="T3" fmla="*/ 934 h 1704"/>
                <a:gd name="T4" fmla="*/ 1489 w 1666"/>
                <a:gd name="T5" fmla="*/ 1383 h 1704"/>
                <a:gd name="T6" fmla="*/ 1021 w 1666"/>
                <a:gd name="T7" fmla="*/ 1341 h 1704"/>
                <a:gd name="T8" fmla="*/ 701 w 1666"/>
                <a:gd name="T9" fmla="*/ 1686 h 1704"/>
                <a:gd name="T10" fmla="*/ 503 w 1666"/>
                <a:gd name="T11" fmla="*/ 1259 h 1704"/>
                <a:gd name="T12" fmla="*/ 45 w 1666"/>
                <a:gd name="T13" fmla="*/ 1154 h 1704"/>
                <a:gd name="T14" fmla="*/ 315 w 1666"/>
                <a:gd name="T15" fmla="*/ 770 h 1704"/>
                <a:gd name="T16" fmla="*/ 177 w 1666"/>
                <a:gd name="T17" fmla="*/ 321 h 1704"/>
                <a:gd name="T18" fmla="*/ 645 w 1666"/>
                <a:gd name="T19" fmla="*/ 363 h 1704"/>
                <a:gd name="T20" fmla="*/ 965 w 1666"/>
                <a:gd name="T21" fmla="*/ 18 h 1704"/>
                <a:gd name="T22" fmla="*/ 1163 w 1666"/>
                <a:gd name="T23" fmla="*/ 445 h 1704"/>
                <a:gd name="T24" fmla="*/ 1621 w 1666"/>
                <a:gd name="T25" fmla="*/ 550 h 1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6" h="1704">
                  <a:moveTo>
                    <a:pt x="1621" y="550"/>
                  </a:moveTo>
                  <a:cubicBezTo>
                    <a:pt x="1666" y="666"/>
                    <a:pt x="1369" y="819"/>
                    <a:pt x="1351" y="934"/>
                  </a:cubicBezTo>
                  <a:cubicBezTo>
                    <a:pt x="1332" y="1052"/>
                    <a:pt x="1564" y="1290"/>
                    <a:pt x="1489" y="1383"/>
                  </a:cubicBezTo>
                  <a:cubicBezTo>
                    <a:pt x="1416" y="1474"/>
                    <a:pt x="1137" y="1297"/>
                    <a:pt x="1021" y="1341"/>
                  </a:cubicBezTo>
                  <a:cubicBezTo>
                    <a:pt x="904" y="1386"/>
                    <a:pt x="816" y="1704"/>
                    <a:pt x="701" y="1686"/>
                  </a:cubicBezTo>
                  <a:cubicBezTo>
                    <a:pt x="582" y="1667"/>
                    <a:pt x="596" y="1335"/>
                    <a:pt x="503" y="1259"/>
                  </a:cubicBezTo>
                  <a:cubicBezTo>
                    <a:pt x="413" y="1186"/>
                    <a:pt x="90" y="1271"/>
                    <a:pt x="45" y="1154"/>
                  </a:cubicBezTo>
                  <a:cubicBezTo>
                    <a:pt x="0" y="1038"/>
                    <a:pt x="297" y="885"/>
                    <a:pt x="315" y="770"/>
                  </a:cubicBezTo>
                  <a:cubicBezTo>
                    <a:pt x="334" y="652"/>
                    <a:pt x="102" y="414"/>
                    <a:pt x="177" y="321"/>
                  </a:cubicBezTo>
                  <a:cubicBezTo>
                    <a:pt x="250" y="230"/>
                    <a:pt x="529" y="407"/>
                    <a:pt x="645" y="363"/>
                  </a:cubicBezTo>
                  <a:cubicBezTo>
                    <a:pt x="762" y="318"/>
                    <a:pt x="850" y="0"/>
                    <a:pt x="965" y="18"/>
                  </a:cubicBezTo>
                  <a:cubicBezTo>
                    <a:pt x="1084" y="37"/>
                    <a:pt x="1070" y="369"/>
                    <a:pt x="1163" y="445"/>
                  </a:cubicBezTo>
                  <a:cubicBezTo>
                    <a:pt x="1253" y="518"/>
                    <a:pt x="1576" y="433"/>
                    <a:pt x="1621" y="550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13">
              <a:extLst>
                <a:ext uri="{FF2B5EF4-FFF2-40B4-BE49-F238E27FC236}">
                  <a16:creationId xmlns="" xmlns:a16="http://schemas.microsoft.com/office/drawing/2014/main" id="{FEC75980-95A1-46C2-85CD-FB6A01B3ED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8213" y="717550"/>
              <a:ext cx="5238750" cy="5422900"/>
            </a:xfrm>
            <a:custGeom>
              <a:avLst/>
              <a:gdLst>
                <a:gd name="T0" fmla="*/ 1593 w 1644"/>
                <a:gd name="T1" fmla="*/ 509 h 1704"/>
                <a:gd name="T2" fmla="*/ 1343 w 1644"/>
                <a:gd name="T3" fmla="*/ 907 h 1704"/>
                <a:gd name="T4" fmla="*/ 1505 w 1644"/>
                <a:gd name="T5" fmla="*/ 1348 h 1704"/>
                <a:gd name="T6" fmla="*/ 1035 w 1644"/>
                <a:gd name="T7" fmla="*/ 1331 h 1704"/>
                <a:gd name="T8" fmla="*/ 734 w 1644"/>
                <a:gd name="T9" fmla="*/ 1691 h 1704"/>
                <a:gd name="T10" fmla="*/ 514 w 1644"/>
                <a:gd name="T11" fmla="*/ 1276 h 1704"/>
                <a:gd name="T12" fmla="*/ 51 w 1644"/>
                <a:gd name="T13" fmla="*/ 1195 h 1704"/>
                <a:gd name="T14" fmla="*/ 301 w 1644"/>
                <a:gd name="T15" fmla="*/ 797 h 1704"/>
                <a:gd name="T16" fmla="*/ 139 w 1644"/>
                <a:gd name="T17" fmla="*/ 356 h 1704"/>
                <a:gd name="T18" fmla="*/ 609 w 1644"/>
                <a:gd name="T19" fmla="*/ 373 h 1704"/>
                <a:gd name="T20" fmla="*/ 910 w 1644"/>
                <a:gd name="T21" fmla="*/ 13 h 1704"/>
                <a:gd name="T22" fmla="*/ 1130 w 1644"/>
                <a:gd name="T23" fmla="*/ 428 h 1704"/>
                <a:gd name="T24" fmla="*/ 1593 w 1644"/>
                <a:gd name="T25" fmla="*/ 509 h 1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4" h="1704">
                  <a:moveTo>
                    <a:pt x="1593" y="509"/>
                  </a:moveTo>
                  <a:cubicBezTo>
                    <a:pt x="1644" y="623"/>
                    <a:pt x="1356" y="791"/>
                    <a:pt x="1343" y="907"/>
                  </a:cubicBezTo>
                  <a:cubicBezTo>
                    <a:pt x="1331" y="1026"/>
                    <a:pt x="1575" y="1251"/>
                    <a:pt x="1505" y="1348"/>
                  </a:cubicBezTo>
                  <a:cubicBezTo>
                    <a:pt x="1437" y="1442"/>
                    <a:pt x="1149" y="1280"/>
                    <a:pt x="1035" y="1331"/>
                  </a:cubicBezTo>
                  <a:cubicBezTo>
                    <a:pt x="921" y="1381"/>
                    <a:pt x="849" y="1704"/>
                    <a:pt x="734" y="1691"/>
                  </a:cubicBezTo>
                  <a:cubicBezTo>
                    <a:pt x="614" y="1679"/>
                    <a:pt x="611" y="1346"/>
                    <a:pt x="514" y="1276"/>
                  </a:cubicBezTo>
                  <a:cubicBezTo>
                    <a:pt x="420" y="1208"/>
                    <a:pt x="102" y="1309"/>
                    <a:pt x="51" y="1195"/>
                  </a:cubicBezTo>
                  <a:cubicBezTo>
                    <a:pt x="0" y="1081"/>
                    <a:pt x="288" y="913"/>
                    <a:pt x="301" y="797"/>
                  </a:cubicBezTo>
                  <a:cubicBezTo>
                    <a:pt x="313" y="678"/>
                    <a:pt x="69" y="453"/>
                    <a:pt x="139" y="356"/>
                  </a:cubicBezTo>
                  <a:cubicBezTo>
                    <a:pt x="207" y="262"/>
                    <a:pt x="495" y="424"/>
                    <a:pt x="609" y="373"/>
                  </a:cubicBezTo>
                  <a:cubicBezTo>
                    <a:pt x="723" y="323"/>
                    <a:pt x="795" y="0"/>
                    <a:pt x="910" y="13"/>
                  </a:cubicBezTo>
                  <a:cubicBezTo>
                    <a:pt x="1030" y="25"/>
                    <a:pt x="1033" y="358"/>
                    <a:pt x="1130" y="428"/>
                  </a:cubicBezTo>
                  <a:cubicBezTo>
                    <a:pt x="1224" y="496"/>
                    <a:pt x="1542" y="395"/>
                    <a:pt x="1593" y="50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4">
              <a:extLst>
                <a:ext uri="{FF2B5EF4-FFF2-40B4-BE49-F238E27FC236}">
                  <a16:creationId xmlns="" xmlns:a16="http://schemas.microsoft.com/office/drawing/2014/main" id="{2C670B2A-5BD8-43FF-B319-43186282C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19488" y="727075"/>
              <a:ext cx="5156200" cy="5403850"/>
            </a:xfrm>
            <a:custGeom>
              <a:avLst/>
              <a:gdLst>
                <a:gd name="T0" fmla="*/ 1561 w 1618"/>
                <a:gd name="T1" fmla="*/ 466 h 1698"/>
                <a:gd name="T2" fmla="*/ 1332 w 1618"/>
                <a:gd name="T3" fmla="*/ 876 h 1698"/>
                <a:gd name="T4" fmla="*/ 1517 w 1618"/>
                <a:gd name="T5" fmla="*/ 1309 h 1698"/>
                <a:gd name="T6" fmla="*/ 1047 w 1618"/>
                <a:gd name="T7" fmla="*/ 1316 h 1698"/>
                <a:gd name="T8" fmla="*/ 765 w 1618"/>
                <a:gd name="T9" fmla="*/ 1692 h 1698"/>
                <a:gd name="T10" fmla="*/ 523 w 1618"/>
                <a:gd name="T11" fmla="*/ 1288 h 1698"/>
                <a:gd name="T12" fmla="*/ 57 w 1618"/>
                <a:gd name="T13" fmla="*/ 1232 h 1698"/>
                <a:gd name="T14" fmla="*/ 286 w 1618"/>
                <a:gd name="T15" fmla="*/ 822 h 1698"/>
                <a:gd name="T16" fmla="*/ 101 w 1618"/>
                <a:gd name="T17" fmla="*/ 389 h 1698"/>
                <a:gd name="T18" fmla="*/ 571 w 1618"/>
                <a:gd name="T19" fmla="*/ 382 h 1698"/>
                <a:gd name="T20" fmla="*/ 853 w 1618"/>
                <a:gd name="T21" fmla="*/ 6 h 1698"/>
                <a:gd name="T22" fmla="*/ 1095 w 1618"/>
                <a:gd name="T23" fmla="*/ 410 h 1698"/>
                <a:gd name="T24" fmla="*/ 1561 w 1618"/>
                <a:gd name="T25" fmla="*/ 466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8" h="1698">
                  <a:moveTo>
                    <a:pt x="1561" y="466"/>
                  </a:moveTo>
                  <a:cubicBezTo>
                    <a:pt x="1618" y="577"/>
                    <a:pt x="1339" y="760"/>
                    <a:pt x="1332" y="876"/>
                  </a:cubicBezTo>
                  <a:cubicBezTo>
                    <a:pt x="1326" y="996"/>
                    <a:pt x="1582" y="1208"/>
                    <a:pt x="1517" y="1309"/>
                  </a:cubicBezTo>
                  <a:cubicBezTo>
                    <a:pt x="1454" y="1406"/>
                    <a:pt x="1158" y="1259"/>
                    <a:pt x="1047" y="1316"/>
                  </a:cubicBezTo>
                  <a:cubicBezTo>
                    <a:pt x="936" y="1372"/>
                    <a:pt x="881" y="1698"/>
                    <a:pt x="765" y="1692"/>
                  </a:cubicBezTo>
                  <a:cubicBezTo>
                    <a:pt x="645" y="1686"/>
                    <a:pt x="624" y="1354"/>
                    <a:pt x="523" y="1288"/>
                  </a:cubicBezTo>
                  <a:cubicBezTo>
                    <a:pt x="426" y="1225"/>
                    <a:pt x="114" y="1343"/>
                    <a:pt x="57" y="1232"/>
                  </a:cubicBezTo>
                  <a:cubicBezTo>
                    <a:pt x="0" y="1121"/>
                    <a:pt x="279" y="938"/>
                    <a:pt x="286" y="822"/>
                  </a:cubicBezTo>
                  <a:cubicBezTo>
                    <a:pt x="292" y="702"/>
                    <a:pt x="36" y="490"/>
                    <a:pt x="101" y="389"/>
                  </a:cubicBezTo>
                  <a:cubicBezTo>
                    <a:pt x="164" y="292"/>
                    <a:pt x="460" y="439"/>
                    <a:pt x="571" y="382"/>
                  </a:cubicBezTo>
                  <a:cubicBezTo>
                    <a:pt x="682" y="326"/>
                    <a:pt x="737" y="0"/>
                    <a:pt x="853" y="6"/>
                  </a:cubicBezTo>
                  <a:cubicBezTo>
                    <a:pt x="973" y="12"/>
                    <a:pt x="994" y="344"/>
                    <a:pt x="1095" y="410"/>
                  </a:cubicBezTo>
                  <a:cubicBezTo>
                    <a:pt x="1192" y="473"/>
                    <a:pt x="1504" y="355"/>
                    <a:pt x="1561" y="466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5">
              <a:extLst>
                <a:ext uri="{FF2B5EF4-FFF2-40B4-BE49-F238E27FC236}">
                  <a16:creationId xmlns="" xmlns:a16="http://schemas.microsoft.com/office/drawing/2014/main" id="{8918CAD1-3F9C-494A-8FF3-81F05D49B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0288" y="742950"/>
              <a:ext cx="5054600" cy="5372100"/>
            </a:xfrm>
            <a:custGeom>
              <a:avLst/>
              <a:gdLst>
                <a:gd name="T0" fmla="*/ 1524 w 1586"/>
                <a:gd name="T1" fmla="*/ 422 h 1688"/>
                <a:gd name="T2" fmla="*/ 1317 w 1586"/>
                <a:gd name="T3" fmla="*/ 844 h 1688"/>
                <a:gd name="T4" fmla="*/ 1524 w 1586"/>
                <a:gd name="T5" fmla="*/ 1266 h 1688"/>
                <a:gd name="T6" fmla="*/ 1055 w 1586"/>
                <a:gd name="T7" fmla="*/ 1298 h 1688"/>
                <a:gd name="T8" fmla="*/ 793 w 1586"/>
                <a:gd name="T9" fmla="*/ 1688 h 1688"/>
                <a:gd name="T10" fmla="*/ 531 w 1586"/>
                <a:gd name="T11" fmla="*/ 1298 h 1688"/>
                <a:gd name="T12" fmla="*/ 62 w 1586"/>
                <a:gd name="T13" fmla="*/ 1266 h 1688"/>
                <a:gd name="T14" fmla="*/ 269 w 1586"/>
                <a:gd name="T15" fmla="*/ 844 h 1688"/>
                <a:gd name="T16" fmla="*/ 62 w 1586"/>
                <a:gd name="T17" fmla="*/ 422 h 1688"/>
                <a:gd name="T18" fmla="*/ 531 w 1586"/>
                <a:gd name="T19" fmla="*/ 390 h 1688"/>
                <a:gd name="T20" fmla="*/ 793 w 1586"/>
                <a:gd name="T21" fmla="*/ 0 h 1688"/>
                <a:gd name="T22" fmla="*/ 1055 w 1586"/>
                <a:gd name="T23" fmla="*/ 390 h 1688"/>
                <a:gd name="T24" fmla="*/ 1524 w 1586"/>
                <a:gd name="T25" fmla="*/ 422 h 1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6" h="1688">
                  <a:moveTo>
                    <a:pt x="1524" y="422"/>
                  </a:moveTo>
                  <a:cubicBezTo>
                    <a:pt x="1586" y="530"/>
                    <a:pt x="1317" y="728"/>
                    <a:pt x="1317" y="844"/>
                  </a:cubicBezTo>
                  <a:cubicBezTo>
                    <a:pt x="1317" y="964"/>
                    <a:pt x="1584" y="1162"/>
                    <a:pt x="1524" y="1266"/>
                  </a:cubicBezTo>
                  <a:cubicBezTo>
                    <a:pt x="1466" y="1367"/>
                    <a:pt x="1163" y="1235"/>
                    <a:pt x="1055" y="1298"/>
                  </a:cubicBezTo>
                  <a:cubicBezTo>
                    <a:pt x="947" y="1360"/>
                    <a:pt x="909" y="1688"/>
                    <a:pt x="793" y="1688"/>
                  </a:cubicBezTo>
                  <a:cubicBezTo>
                    <a:pt x="673" y="1688"/>
                    <a:pt x="635" y="1358"/>
                    <a:pt x="531" y="1298"/>
                  </a:cubicBezTo>
                  <a:cubicBezTo>
                    <a:pt x="430" y="1240"/>
                    <a:pt x="124" y="1374"/>
                    <a:pt x="62" y="1266"/>
                  </a:cubicBezTo>
                  <a:cubicBezTo>
                    <a:pt x="0" y="1158"/>
                    <a:pt x="269" y="960"/>
                    <a:pt x="269" y="844"/>
                  </a:cubicBezTo>
                  <a:cubicBezTo>
                    <a:pt x="269" y="724"/>
                    <a:pt x="2" y="526"/>
                    <a:pt x="62" y="422"/>
                  </a:cubicBezTo>
                  <a:cubicBezTo>
                    <a:pt x="120" y="321"/>
                    <a:pt x="423" y="453"/>
                    <a:pt x="531" y="390"/>
                  </a:cubicBezTo>
                  <a:cubicBezTo>
                    <a:pt x="639" y="328"/>
                    <a:pt x="677" y="0"/>
                    <a:pt x="793" y="0"/>
                  </a:cubicBezTo>
                  <a:cubicBezTo>
                    <a:pt x="913" y="0"/>
                    <a:pt x="951" y="330"/>
                    <a:pt x="1055" y="390"/>
                  </a:cubicBezTo>
                  <a:cubicBezTo>
                    <a:pt x="1156" y="448"/>
                    <a:pt x="1462" y="314"/>
                    <a:pt x="1524" y="422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6">
              <a:extLst>
                <a:ext uri="{FF2B5EF4-FFF2-40B4-BE49-F238E27FC236}">
                  <a16:creationId xmlns="" xmlns:a16="http://schemas.microsoft.com/office/drawing/2014/main" id="{73C277BB-DFC3-4CD9-9DD4-1CE98D64F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5838" y="727075"/>
              <a:ext cx="5143500" cy="5403850"/>
            </a:xfrm>
            <a:custGeom>
              <a:avLst/>
              <a:gdLst>
                <a:gd name="T0" fmla="*/ 1515 w 1614"/>
                <a:gd name="T1" fmla="*/ 389 h 1698"/>
                <a:gd name="T2" fmla="*/ 1330 w 1614"/>
                <a:gd name="T3" fmla="*/ 821 h 1698"/>
                <a:gd name="T4" fmla="*/ 1559 w 1614"/>
                <a:gd name="T5" fmla="*/ 1232 h 1698"/>
                <a:gd name="T6" fmla="*/ 1092 w 1614"/>
                <a:gd name="T7" fmla="*/ 1288 h 1698"/>
                <a:gd name="T8" fmla="*/ 851 w 1614"/>
                <a:gd name="T9" fmla="*/ 1692 h 1698"/>
                <a:gd name="T10" fmla="*/ 569 w 1614"/>
                <a:gd name="T11" fmla="*/ 1316 h 1698"/>
                <a:gd name="T12" fmla="*/ 99 w 1614"/>
                <a:gd name="T13" fmla="*/ 1309 h 1698"/>
                <a:gd name="T14" fmla="*/ 284 w 1614"/>
                <a:gd name="T15" fmla="*/ 877 h 1698"/>
                <a:gd name="T16" fmla="*/ 55 w 1614"/>
                <a:gd name="T17" fmla="*/ 466 h 1698"/>
                <a:gd name="T18" fmla="*/ 522 w 1614"/>
                <a:gd name="T19" fmla="*/ 410 h 1698"/>
                <a:gd name="T20" fmla="*/ 763 w 1614"/>
                <a:gd name="T21" fmla="*/ 6 h 1698"/>
                <a:gd name="T22" fmla="*/ 1045 w 1614"/>
                <a:gd name="T23" fmla="*/ 382 h 1698"/>
                <a:gd name="T24" fmla="*/ 1515 w 1614"/>
                <a:gd name="T25" fmla="*/ 389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4" h="1698">
                  <a:moveTo>
                    <a:pt x="1515" y="389"/>
                  </a:moveTo>
                  <a:cubicBezTo>
                    <a:pt x="1583" y="494"/>
                    <a:pt x="1324" y="705"/>
                    <a:pt x="1330" y="821"/>
                  </a:cubicBezTo>
                  <a:cubicBezTo>
                    <a:pt x="1337" y="941"/>
                    <a:pt x="1614" y="1125"/>
                    <a:pt x="1559" y="1232"/>
                  </a:cubicBezTo>
                  <a:cubicBezTo>
                    <a:pt x="1506" y="1336"/>
                    <a:pt x="1197" y="1221"/>
                    <a:pt x="1092" y="1288"/>
                  </a:cubicBezTo>
                  <a:cubicBezTo>
                    <a:pt x="988" y="1356"/>
                    <a:pt x="967" y="1686"/>
                    <a:pt x="851" y="1692"/>
                  </a:cubicBezTo>
                  <a:cubicBezTo>
                    <a:pt x="731" y="1698"/>
                    <a:pt x="676" y="1370"/>
                    <a:pt x="569" y="1316"/>
                  </a:cubicBezTo>
                  <a:cubicBezTo>
                    <a:pt x="465" y="1263"/>
                    <a:pt x="167" y="1413"/>
                    <a:pt x="99" y="1309"/>
                  </a:cubicBezTo>
                  <a:cubicBezTo>
                    <a:pt x="31" y="1204"/>
                    <a:pt x="290" y="993"/>
                    <a:pt x="284" y="877"/>
                  </a:cubicBezTo>
                  <a:cubicBezTo>
                    <a:pt x="277" y="757"/>
                    <a:pt x="0" y="573"/>
                    <a:pt x="55" y="466"/>
                  </a:cubicBezTo>
                  <a:cubicBezTo>
                    <a:pt x="108" y="362"/>
                    <a:pt x="417" y="477"/>
                    <a:pt x="522" y="410"/>
                  </a:cubicBezTo>
                  <a:cubicBezTo>
                    <a:pt x="626" y="342"/>
                    <a:pt x="647" y="12"/>
                    <a:pt x="763" y="6"/>
                  </a:cubicBezTo>
                  <a:cubicBezTo>
                    <a:pt x="883" y="0"/>
                    <a:pt x="938" y="328"/>
                    <a:pt x="1045" y="382"/>
                  </a:cubicBezTo>
                  <a:cubicBezTo>
                    <a:pt x="1149" y="435"/>
                    <a:pt x="1447" y="285"/>
                    <a:pt x="1515" y="3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8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8/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="" xmlns:a16="http://schemas.microsoft.com/office/drawing/2014/main" id="{8D97678A-7A44-45E9-B637-D4B9DBFEA42C}"/>
              </a:ext>
            </a:extLst>
          </p:cNvPr>
          <p:cNvCxnSpPr>
            <a:cxnSpLocks/>
          </p:cNvCxnSpPr>
          <p:nvPr userDrawn="1"/>
        </p:nvCxnSpPr>
        <p:spPr>
          <a:xfrm flipH="1">
            <a:off x="673100" y="3755688"/>
            <a:ext cx="10847388" cy="0"/>
          </a:xfrm>
          <a:prstGeom prst="line">
            <a:avLst/>
          </a:prstGeom>
          <a:ln w="1270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: 圆角 6">
            <a:extLst>
              <a:ext uri="{FF2B5EF4-FFF2-40B4-BE49-F238E27FC236}">
                <a16:creationId xmlns="" xmlns:a16="http://schemas.microsoft.com/office/drawing/2014/main" id="{B4912D2E-03CB-426F-B6F0-CE0EA665D1C2}"/>
              </a:ext>
            </a:extLst>
          </p:cNvPr>
          <p:cNvSpPr>
            <a:spLocks/>
          </p:cNvSpPr>
          <p:nvPr userDrawn="1"/>
        </p:nvSpPr>
        <p:spPr>
          <a:xfrm flipH="1">
            <a:off x="669925" y="738666"/>
            <a:ext cx="1153014" cy="39163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LOGO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424A871B-3AA2-496F-B3EB-C3DB0FCCB4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57450" y="-12299"/>
            <a:ext cx="97345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8/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facebook.github.io/react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73D68429-C8C6-48A0-93AB-0FD63EB57BB8}"/>
              </a:ext>
            </a:extLst>
          </p:cNvPr>
          <p:cNvSpPr/>
          <p:nvPr/>
        </p:nvSpPr>
        <p:spPr>
          <a:xfrm>
            <a:off x="6095999" y="3321494"/>
            <a:ext cx="5307725" cy="6249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719332" y="4006458"/>
            <a:ext cx="1684392" cy="558799"/>
          </a:xfrm>
        </p:spPr>
        <p:txBody>
          <a:bodyPr>
            <a:normAutofit/>
          </a:bodyPr>
          <a:lstStyle/>
          <a:p>
            <a:r>
              <a:rPr lang="zh-CN" altLang="en-US" b="1" i="1" dirty="0"/>
              <a:t>李炜</a:t>
            </a:r>
            <a:endParaRPr lang="en-US" altLang="zh-CN" b="1" i="1" dirty="0"/>
          </a:p>
        </p:txBody>
      </p:sp>
      <p:sp>
        <p:nvSpPr>
          <p:cNvPr id="10" name="矩形 9">
            <a:extLst>
              <a:ext uri="{FF2B5EF4-FFF2-40B4-BE49-F238E27FC236}">
                <a16:creationId xmlns="" xmlns:a16="http://schemas.microsoft.com/office/drawing/2014/main" id="{91E9DF67-1DEE-414F-939E-ECE0286C525E}"/>
              </a:ext>
            </a:extLst>
          </p:cNvPr>
          <p:cNvSpPr/>
          <p:nvPr/>
        </p:nvSpPr>
        <p:spPr>
          <a:xfrm rot="19442982">
            <a:off x="2991240" y="2478774"/>
            <a:ext cx="135165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>
                <a:solidFill>
                  <a:schemeClr val="tx2"/>
                </a:solidFill>
              </a:rPr>
              <a:t>idea</a:t>
            </a:r>
            <a:endParaRPr lang="en-US" altLang="zh-CN" baseline="30000" dirty="0">
              <a:solidFill>
                <a:schemeClr val="tx2"/>
              </a:solidFill>
            </a:endParaRPr>
          </a:p>
          <a:p>
            <a:pPr algn="ctr"/>
            <a:r>
              <a:rPr lang="en-US" altLang="zh-CN" dirty="0">
                <a:solidFill>
                  <a:schemeClr val="tx2"/>
                </a:solidFill>
              </a:rPr>
              <a:t> </a:t>
            </a:r>
            <a:r>
              <a:rPr lang="en-US" altLang="zh-CN" dirty="0" smtClean="0">
                <a:solidFill>
                  <a:schemeClr val="tx2"/>
                </a:solidFill>
              </a:rPr>
              <a:t>knowledge</a:t>
            </a:r>
          </a:p>
          <a:p>
            <a:pPr algn="ctr"/>
            <a:endParaRPr lang="zh-CN" altLang="en-US" dirty="0">
              <a:solidFill>
                <a:schemeClr val="tx2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257924" y="2631178"/>
            <a:ext cx="5422436" cy="1834758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/>
              <a:t>Redux</a:t>
            </a:r>
            <a:r>
              <a:rPr lang="zh-CN" altLang="en-US" dirty="0" smtClean="0"/>
              <a:t>分享</a:t>
            </a:r>
            <a:endParaRPr lang="zh-CN" altLang="en-US" dirty="0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>
          <a:xfrm>
            <a:off x="9620250" y="5841004"/>
            <a:ext cx="1910556" cy="296271"/>
          </a:xfrm>
        </p:spPr>
        <p:txBody>
          <a:bodyPr/>
          <a:lstStyle/>
          <a:p>
            <a:r>
              <a:rPr lang="en-US" altLang="zh-CN" dirty="0" smtClean="0"/>
              <a:t>2019.8.6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 smtClean="0">
                    <a:sym typeface="+mn-lt"/>
                  </a:rPr>
                  <a:t>Redux</a:t>
                </a:r>
                <a:r>
                  <a:rPr lang="zh-CN" altLang="en-US" sz="2000" b="0" dirty="0">
                    <a:sym typeface="+mn-lt"/>
                  </a:rPr>
                  <a:t>是</a:t>
                </a:r>
                <a:r>
                  <a:rPr lang="zh-CN" altLang="en-US" sz="2000" b="0" dirty="0" smtClean="0">
                    <a:sym typeface="+mn-lt"/>
                  </a:rPr>
                  <a:t>什么</a:t>
                </a:r>
                <a:endParaRPr lang="en-US" altLang="zh-CN" sz="2000" b="0" dirty="0" smtClean="0"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>
                    <a:sym typeface="+mn-lt"/>
                  </a:rPr>
                  <a:t>为什么要使用</a:t>
                </a:r>
                <a:r>
                  <a:rPr lang="en-US" altLang="zh-CN" sz="2000" b="0" dirty="0" smtClean="0">
                    <a:sym typeface="+mn-lt"/>
                  </a:rPr>
                  <a:t>redux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自己如何实现一个</a:t>
                </a: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redux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b="0" dirty="0">
                <a:sym typeface="+mn-lt"/>
              </a:rPr>
              <a:t>Redux</a:t>
            </a:r>
            <a:r>
              <a:rPr lang="zh-CN" altLang="en-US" b="0" dirty="0">
                <a:sym typeface="+mn-lt"/>
              </a:rPr>
              <a:t>是什么</a:t>
            </a:r>
            <a:endParaRPr lang="en-US" altLang="zh-CN" b="0" dirty="0"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83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70291" y="2140721"/>
            <a:ext cx="1071562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edux </a:t>
            </a:r>
            <a:r>
              <a:rPr lang="zh-CN" altLang="en-US" dirty="0"/>
              <a:t>是 </a:t>
            </a:r>
            <a:r>
              <a:rPr lang="en-US" altLang="zh-CN" dirty="0"/>
              <a:t>JavaScript </a:t>
            </a:r>
            <a:r>
              <a:rPr lang="zh-CN" altLang="en-US" dirty="0"/>
              <a:t>状态容器，提供可预测化的状态</a:t>
            </a:r>
            <a:r>
              <a:rPr lang="zh-CN" altLang="en-US" dirty="0" smtClean="0"/>
              <a:t>管理。</a:t>
            </a:r>
            <a:r>
              <a:rPr lang="zh-CN" altLang="en-US" dirty="0"/>
              <a:t>可以让你构建一致化的应用，运行于不同的环境（客户端、服务器、原生应用），并且易于</a:t>
            </a:r>
            <a:r>
              <a:rPr lang="zh-CN" altLang="en-US" dirty="0" smtClean="0"/>
              <a:t>测试。</a:t>
            </a:r>
            <a:r>
              <a:rPr lang="en-US" altLang="zh-CN" dirty="0"/>
              <a:t>Redux </a:t>
            </a:r>
            <a:r>
              <a:rPr lang="zh-CN" altLang="en-US" dirty="0"/>
              <a:t>除了和 </a:t>
            </a:r>
            <a:r>
              <a:rPr lang="en-US" altLang="zh-CN" dirty="0">
                <a:hlinkClick r:id="rId2"/>
              </a:rPr>
              <a:t>React</a:t>
            </a:r>
            <a:r>
              <a:rPr lang="en-US" altLang="zh-CN" dirty="0"/>
              <a:t> </a:t>
            </a:r>
            <a:r>
              <a:rPr lang="zh-CN" altLang="en-US" dirty="0"/>
              <a:t>一起用外，还支持其它界面库。 它体小精悍（只有</a:t>
            </a:r>
            <a:r>
              <a:rPr lang="en-US" altLang="zh-CN" dirty="0"/>
              <a:t>2kB</a:t>
            </a:r>
            <a:r>
              <a:rPr lang="zh-CN" altLang="en-US" dirty="0"/>
              <a:t>，包括依赖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Redux</a:t>
            </a:r>
            <a:r>
              <a:rPr lang="zh-CN" altLang="en-US" dirty="0" smtClean="0"/>
              <a:t>最基础的概念</a:t>
            </a:r>
            <a:endParaRPr lang="en-US" altLang="zh-CN" dirty="0" smtClean="0"/>
          </a:p>
          <a:p>
            <a:r>
              <a:rPr lang="en-US" altLang="zh-CN" dirty="0" smtClean="0"/>
              <a:t>1.</a:t>
            </a:r>
            <a:r>
              <a:rPr lang="zh-CN" altLang="en-US" b="1" dirty="0"/>
              <a:t>单一数据源</a:t>
            </a:r>
          </a:p>
          <a:p>
            <a:r>
              <a:rPr lang="en-US" altLang="zh-CN" dirty="0" smtClean="0"/>
              <a:t>2.</a:t>
            </a:r>
            <a:r>
              <a:rPr lang="en-US" altLang="zh-CN" b="1" dirty="0"/>
              <a:t> State </a:t>
            </a:r>
            <a:r>
              <a:rPr lang="zh-CN" altLang="en-US" b="1" dirty="0"/>
              <a:t>是只读的</a:t>
            </a:r>
          </a:p>
          <a:p>
            <a:r>
              <a:rPr lang="en-US" altLang="zh-CN" dirty="0" smtClean="0"/>
              <a:t>3.</a:t>
            </a:r>
            <a:r>
              <a:rPr lang="zh-CN" altLang="en-US" b="1" dirty="0"/>
              <a:t>使用纯函数来执行</a:t>
            </a:r>
            <a:r>
              <a:rPr lang="zh-CN" altLang="en-US" b="1" dirty="0" smtClean="0"/>
              <a:t>修改</a:t>
            </a:r>
            <a:endParaRPr lang="zh-CN" altLang="en-US" b="1" dirty="0"/>
          </a:p>
        </p:txBody>
      </p:sp>
      <p:grpSp>
        <p:nvGrpSpPr>
          <p:cNvPr id="10" name="iṥļíḑe">
            <a:extLst>
              <a:ext uri="{FF2B5EF4-FFF2-40B4-BE49-F238E27FC236}">
                <a16:creationId xmlns="" xmlns:a16="http://schemas.microsoft.com/office/drawing/2014/main" id="{0155E866-953B-4D4C-8E90-5CEB066DDC09}"/>
              </a:ext>
            </a:extLst>
          </p:cNvPr>
          <p:cNvGrpSpPr/>
          <p:nvPr/>
        </p:nvGrpSpPr>
        <p:grpSpPr>
          <a:xfrm>
            <a:off x="670291" y="274350"/>
            <a:ext cx="3128397" cy="1699199"/>
            <a:chOff x="322263" y="4591050"/>
            <a:chExt cx="1292225" cy="703263"/>
          </a:xfrm>
        </p:grpSpPr>
        <p:sp>
          <p:nvSpPr>
            <p:cNvPr id="11" name="íṡḻíḑè">
              <a:extLst>
                <a:ext uri="{FF2B5EF4-FFF2-40B4-BE49-F238E27FC236}">
                  <a16:creationId xmlns="" xmlns:a16="http://schemas.microsoft.com/office/drawing/2014/main" id="{B11B7ADE-DD73-4D44-A001-C4BE11BEEA70}"/>
                </a:ext>
              </a:extLst>
            </p:cNvPr>
            <p:cNvSpPr/>
            <p:nvPr/>
          </p:nvSpPr>
          <p:spPr bwMode="auto">
            <a:xfrm>
              <a:off x="919163" y="4905375"/>
              <a:ext cx="254000" cy="184150"/>
            </a:xfrm>
            <a:custGeom>
              <a:avLst/>
              <a:gdLst>
                <a:gd name="T0" fmla="*/ 658 w 707"/>
                <a:gd name="T1" fmla="*/ 0 h 512"/>
                <a:gd name="T2" fmla="*/ 706 w 707"/>
                <a:gd name="T3" fmla="*/ 48 h 512"/>
                <a:gd name="T4" fmla="*/ 706 w 707"/>
                <a:gd name="T5" fmla="*/ 465 h 512"/>
                <a:gd name="T6" fmla="*/ 658 w 707"/>
                <a:gd name="T7" fmla="*/ 511 h 512"/>
                <a:gd name="T8" fmla="*/ 46 w 707"/>
                <a:gd name="T9" fmla="*/ 511 h 512"/>
                <a:gd name="T10" fmla="*/ 0 w 707"/>
                <a:gd name="T11" fmla="*/ 465 h 512"/>
                <a:gd name="T12" fmla="*/ 0 w 707"/>
                <a:gd name="T13" fmla="*/ 48 h 512"/>
                <a:gd name="T14" fmla="*/ 46 w 707"/>
                <a:gd name="T15" fmla="*/ 0 h 512"/>
                <a:gd name="T16" fmla="*/ 658 w 707"/>
                <a:gd name="T1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7" h="512">
                  <a:moveTo>
                    <a:pt x="658" y="0"/>
                  </a:moveTo>
                  <a:cubicBezTo>
                    <a:pt x="684" y="0"/>
                    <a:pt x="706" y="23"/>
                    <a:pt x="706" y="48"/>
                  </a:cubicBezTo>
                  <a:lnTo>
                    <a:pt x="706" y="465"/>
                  </a:lnTo>
                  <a:cubicBezTo>
                    <a:pt x="706" y="491"/>
                    <a:pt x="684" y="511"/>
                    <a:pt x="658" y="511"/>
                  </a:cubicBezTo>
                  <a:lnTo>
                    <a:pt x="46" y="511"/>
                  </a:lnTo>
                  <a:cubicBezTo>
                    <a:pt x="21" y="511"/>
                    <a:pt x="0" y="491"/>
                    <a:pt x="0" y="465"/>
                  </a:cubicBezTo>
                  <a:lnTo>
                    <a:pt x="0" y="48"/>
                  </a:lnTo>
                  <a:cubicBezTo>
                    <a:pt x="0" y="23"/>
                    <a:pt x="21" y="0"/>
                    <a:pt x="46" y="0"/>
                  </a:cubicBezTo>
                  <a:lnTo>
                    <a:pt x="658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" name="îSḻíďè">
              <a:extLst>
                <a:ext uri="{FF2B5EF4-FFF2-40B4-BE49-F238E27FC236}">
                  <a16:creationId xmlns="" xmlns:a16="http://schemas.microsoft.com/office/drawing/2014/main" id="{F8C43681-C1FD-4D1A-BE87-6CA700D71361}"/>
                </a:ext>
              </a:extLst>
            </p:cNvPr>
            <p:cNvSpPr/>
            <p:nvPr/>
          </p:nvSpPr>
          <p:spPr bwMode="auto">
            <a:xfrm>
              <a:off x="917575" y="4902200"/>
              <a:ext cx="258763" cy="188913"/>
            </a:xfrm>
            <a:custGeom>
              <a:avLst/>
              <a:gdLst>
                <a:gd name="T0" fmla="*/ 708 w 717"/>
                <a:gd name="T1" fmla="*/ 470 h 523"/>
                <a:gd name="T2" fmla="*/ 708 w 717"/>
                <a:gd name="T3" fmla="*/ 52 h 523"/>
                <a:gd name="T4" fmla="*/ 665 w 717"/>
                <a:gd name="T5" fmla="*/ 9 h 523"/>
                <a:gd name="T6" fmla="*/ 51 w 717"/>
                <a:gd name="T7" fmla="*/ 9 h 523"/>
                <a:gd name="T8" fmla="*/ 8 w 717"/>
                <a:gd name="T9" fmla="*/ 52 h 523"/>
                <a:gd name="T10" fmla="*/ 8 w 717"/>
                <a:gd name="T11" fmla="*/ 470 h 523"/>
                <a:gd name="T12" fmla="*/ 51 w 717"/>
                <a:gd name="T13" fmla="*/ 513 h 523"/>
                <a:gd name="T14" fmla="*/ 665 w 717"/>
                <a:gd name="T15" fmla="*/ 513 h 523"/>
                <a:gd name="T16" fmla="*/ 708 w 717"/>
                <a:gd name="T17" fmla="*/ 470 h 523"/>
                <a:gd name="T18" fmla="*/ 665 w 717"/>
                <a:gd name="T19" fmla="*/ 0 h 523"/>
                <a:gd name="T20" fmla="*/ 716 w 717"/>
                <a:gd name="T21" fmla="*/ 52 h 523"/>
                <a:gd name="T22" fmla="*/ 716 w 717"/>
                <a:gd name="T23" fmla="*/ 470 h 523"/>
                <a:gd name="T24" fmla="*/ 665 w 717"/>
                <a:gd name="T25" fmla="*/ 522 h 523"/>
                <a:gd name="T26" fmla="*/ 51 w 717"/>
                <a:gd name="T27" fmla="*/ 522 h 523"/>
                <a:gd name="T28" fmla="*/ 0 w 717"/>
                <a:gd name="T29" fmla="*/ 470 h 523"/>
                <a:gd name="T30" fmla="*/ 0 w 717"/>
                <a:gd name="T31" fmla="*/ 52 h 523"/>
                <a:gd name="T32" fmla="*/ 51 w 717"/>
                <a:gd name="T33" fmla="*/ 0 h 523"/>
                <a:gd name="T34" fmla="*/ 665 w 717"/>
                <a:gd name="T35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7" h="523">
                  <a:moveTo>
                    <a:pt x="708" y="470"/>
                  </a:moveTo>
                  <a:lnTo>
                    <a:pt x="708" y="52"/>
                  </a:lnTo>
                  <a:cubicBezTo>
                    <a:pt x="708" y="27"/>
                    <a:pt x="689" y="9"/>
                    <a:pt x="665" y="9"/>
                  </a:cubicBezTo>
                  <a:lnTo>
                    <a:pt x="51" y="9"/>
                  </a:lnTo>
                  <a:cubicBezTo>
                    <a:pt x="28" y="9"/>
                    <a:pt x="8" y="27"/>
                    <a:pt x="8" y="52"/>
                  </a:cubicBezTo>
                  <a:lnTo>
                    <a:pt x="8" y="470"/>
                  </a:lnTo>
                  <a:cubicBezTo>
                    <a:pt x="8" y="494"/>
                    <a:pt x="28" y="513"/>
                    <a:pt x="51" y="513"/>
                  </a:cubicBezTo>
                  <a:lnTo>
                    <a:pt x="665" y="513"/>
                  </a:lnTo>
                  <a:cubicBezTo>
                    <a:pt x="689" y="513"/>
                    <a:pt x="708" y="494"/>
                    <a:pt x="708" y="470"/>
                  </a:cubicBezTo>
                  <a:close/>
                  <a:moveTo>
                    <a:pt x="665" y="0"/>
                  </a:moveTo>
                  <a:cubicBezTo>
                    <a:pt x="693" y="0"/>
                    <a:pt x="716" y="24"/>
                    <a:pt x="716" y="52"/>
                  </a:cubicBezTo>
                  <a:lnTo>
                    <a:pt x="716" y="470"/>
                  </a:lnTo>
                  <a:cubicBezTo>
                    <a:pt x="716" y="498"/>
                    <a:pt x="693" y="522"/>
                    <a:pt x="665" y="522"/>
                  </a:cubicBezTo>
                  <a:lnTo>
                    <a:pt x="51" y="522"/>
                  </a:lnTo>
                  <a:cubicBezTo>
                    <a:pt x="23" y="522"/>
                    <a:pt x="0" y="498"/>
                    <a:pt x="0" y="470"/>
                  </a:cubicBezTo>
                  <a:lnTo>
                    <a:pt x="0" y="52"/>
                  </a:lnTo>
                  <a:cubicBezTo>
                    <a:pt x="0" y="24"/>
                    <a:pt x="23" y="0"/>
                    <a:pt x="51" y="0"/>
                  </a:cubicBezTo>
                  <a:lnTo>
                    <a:pt x="665" y="0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" name="išlide">
              <a:extLst>
                <a:ext uri="{FF2B5EF4-FFF2-40B4-BE49-F238E27FC236}">
                  <a16:creationId xmlns="" xmlns:a16="http://schemas.microsoft.com/office/drawing/2014/main" id="{B57FC727-2558-4C3D-8A9B-8F4BF98BF68B}"/>
                </a:ext>
              </a:extLst>
            </p:cNvPr>
            <p:cNvSpPr/>
            <p:nvPr/>
          </p:nvSpPr>
          <p:spPr bwMode="auto">
            <a:xfrm>
              <a:off x="1030288" y="4929188"/>
              <a:ext cx="7937" cy="141287"/>
            </a:xfrm>
            <a:custGeom>
              <a:avLst/>
              <a:gdLst>
                <a:gd name="T0" fmla="*/ 17 w 21"/>
                <a:gd name="T1" fmla="*/ 0 h 394"/>
                <a:gd name="T2" fmla="*/ 20 w 21"/>
                <a:gd name="T3" fmla="*/ 4 h 394"/>
                <a:gd name="T4" fmla="*/ 8 w 21"/>
                <a:gd name="T5" fmla="*/ 390 h 394"/>
                <a:gd name="T6" fmla="*/ 4 w 21"/>
                <a:gd name="T7" fmla="*/ 393 h 394"/>
                <a:gd name="T8" fmla="*/ 0 w 21"/>
                <a:gd name="T9" fmla="*/ 390 h 394"/>
                <a:gd name="T10" fmla="*/ 12 w 21"/>
                <a:gd name="T11" fmla="*/ 4 h 394"/>
                <a:gd name="T12" fmla="*/ 17 w 21"/>
                <a:gd name="T13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394">
                  <a:moveTo>
                    <a:pt x="17" y="0"/>
                  </a:moveTo>
                  <a:cubicBezTo>
                    <a:pt x="19" y="0"/>
                    <a:pt x="20" y="2"/>
                    <a:pt x="20" y="4"/>
                  </a:cubicBezTo>
                  <a:lnTo>
                    <a:pt x="8" y="390"/>
                  </a:lnTo>
                  <a:cubicBezTo>
                    <a:pt x="8" y="392"/>
                    <a:pt x="6" y="393"/>
                    <a:pt x="4" y="393"/>
                  </a:cubicBezTo>
                  <a:cubicBezTo>
                    <a:pt x="1" y="393"/>
                    <a:pt x="0" y="392"/>
                    <a:pt x="0" y="390"/>
                  </a:cubicBezTo>
                  <a:lnTo>
                    <a:pt x="12" y="4"/>
                  </a:lnTo>
                  <a:cubicBezTo>
                    <a:pt x="12" y="1"/>
                    <a:pt x="14" y="0"/>
                    <a:pt x="17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" name="ïṥ1íďe">
              <a:extLst>
                <a:ext uri="{FF2B5EF4-FFF2-40B4-BE49-F238E27FC236}">
                  <a16:creationId xmlns="" xmlns:a16="http://schemas.microsoft.com/office/drawing/2014/main" id="{B623D401-782C-4C42-842B-CE55F170533A}"/>
                </a:ext>
              </a:extLst>
            </p:cNvPr>
            <p:cNvSpPr/>
            <p:nvPr/>
          </p:nvSpPr>
          <p:spPr bwMode="auto">
            <a:xfrm>
              <a:off x="942975" y="4692650"/>
              <a:ext cx="138113" cy="123825"/>
            </a:xfrm>
            <a:custGeom>
              <a:avLst/>
              <a:gdLst>
                <a:gd name="T0" fmla="*/ 39 w 383"/>
                <a:gd name="T1" fmla="*/ 77 h 342"/>
                <a:gd name="T2" fmla="*/ 353 w 383"/>
                <a:gd name="T3" fmla="*/ 114 h 342"/>
                <a:gd name="T4" fmla="*/ 306 w 383"/>
                <a:gd name="T5" fmla="*/ 323 h 342"/>
                <a:gd name="T6" fmla="*/ 153 w 383"/>
                <a:gd name="T7" fmla="*/ 292 h 342"/>
                <a:gd name="T8" fmla="*/ 18 w 383"/>
                <a:gd name="T9" fmla="*/ 268 h 342"/>
                <a:gd name="T10" fmla="*/ 39 w 383"/>
                <a:gd name="T11" fmla="*/ 7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3" h="342">
                  <a:moveTo>
                    <a:pt x="39" y="77"/>
                  </a:moveTo>
                  <a:cubicBezTo>
                    <a:pt x="43" y="0"/>
                    <a:pt x="323" y="75"/>
                    <a:pt x="353" y="114"/>
                  </a:cubicBezTo>
                  <a:cubicBezTo>
                    <a:pt x="382" y="154"/>
                    <a:pt x="332" y="306"/>
                    <a:pt x="306" y="323"/>
                  </a:cubicBezTo>
                  <a:cubicBezTo>
                    <a:pt x="280" y="341"/>
                    <a:pt x="200" y="306"/>
                    <a:pt x="153" y="292"/>
                  </a:cubicBezTo>
                  <a:cubicBezTo>
                    <a:pt x="106" y="279"/>
                    <a:pt x="36" y="285"/>
                    <a:pt x="18" y="268"/>
                  </a:cubicBezTo>
                  <a:cubicBezTo>
                    <a:pt x="0" y="253"/>
                    <a:pt x="39" y="77"/>
                    <a:pt x="39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" name="îṩlïdê">
              <a:extLst>
                <a:ext uri="{FF2B5EF4-FFF2-40B4-BE49-F238E27FC236}">
                  <a16:creationId xmlns="" xmlns:a16="http://schemas.microsoft.com/office/drawing/2014/main" id="{BC05CE15-8B9F-422E-97AC-104277E59621}"/>
                </a:ext>
              </a:extLst>
            </p:cNvPr>
            <p:cNvSpPr/>
            <p:nvPr/>
          </p:nvSpPr>
          <p:spPr bwMode="auto">
            <a:xfrm>
              <a:off x="942975" y="4705350"/>
              <a:ext cx="131763" cy="106363"/>
            </a:xfrm>
            <a:custGeom>
              <a:avLst/>
              <a:gdLst>
                <a:gd name="T0" fmla="*/ 353 w 368"/>
                <a:gd name="T1" fmla="*/ 151 h 297"/>
                <a:gd name="T2" fmla="*/ 349 w 368"/>
                <a:gd name="T3" fmla="*/ 79 h 297"/>
                <a:gd name="T4" fmla="*/ 111 w 368"/>
                <a:gd name="T5" fmla="*/ 9 h 297"/>
                <a:gd name="T6" fmla="*/ 46 w 368"/>
                <a:gd name="T7" fmla="*/ 39 h 297"/>
                <a:gd name="T8" fmla="*/ 46 w 368"/>
                <a:gd name="T9" fmla="*/ 40 h 297"/>
                <a:gd name="T10" fmla="*/ 23 w 368"/>
                <a:gd name="T11" fmla="*/ 228 h 297"/>
                <a:gd name="T12" fmla="*/ 85 w 368"/>
                <a:gd name="T13" fmla="*/ 241 h 297"/>
                <a:gd name="T14" fmla="*/ 155 w 368"/>
                <a:gd name="T15" fmla="*/ 252 h 297"/>
                <a:gd name="T16" fmla="*/ 196 w 368"/>
                <a:gd name="T17" fmla="*/ 266 h 297"/>
                <a:gd name="T18" fmla="*/ 285 w 368"/>
                <a:gd name="T19" fmla="*/ 288 h 297"/>
                <a:gd name="T20" fmla="*/ 303 w 368"/>
                <a:gd name="T21" fmla="*/ 285 h 297"/>
                <a:gd name="T22" fmla="*/ 353 w 368"/>
                <a:gd name="T23" fmla="*/ 151 h 297"/>
                <a:gd name="T24" fmla="*/ 111 w 368"/>
                <a:gd name="T25" fmla="*/ 0 h 297"/>
                <a:gd name="T26" fmla="*/ 355 w 368"/>
                <a:gd name="T27" fmla="*/ 74 h 297"/>
                <a:gd name="T28" fmla="*/ 361 w 368"/>
                <a:gd name="T29" fmla="*/ 152 h 297"/>
                <a:gd name="T30" fmla="*/ 307 w 368"/>
                <a:gd name="T31" fmla="*/ 290 h 297"/>
                <a:gd name="T32" fmla="*/ 285 w 368"/>
                <a:gd name="T33" fmla="*/ 296 h 297"/>
                <a:gd name="T34" fmla="*/ 194 w 368"/>
                <a:gd name="T35" fmla="*/ 273 h 297"/>
                <a:gd name="T36" fmla="*/ 152 w 368"/>
                <a:gd name="T37" fmla="*/ 259 h 297"/>
                <a:gd name="T38" fmla="*/ 85 w 368"/>
                <a:gd name="T39" fmla="*/ 249 h 297"/>
                <a:gd name="T40" fmla="*/ 18 w 368"/>
                <a:gd name="T41" fmla="*/ 234 h 297"/>
                <a:gd name="T42" fmla="*/ 38 w 368"/>
                <a:gd name="T43" fmla="*/ 39 h 297"/>
                <a:gd name="T44" fmla="*/ 111 w 368"/>
                <a:gd name="T4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8" h="297">
                  <a:moveTo>
                    <a:pt x="353" y="151"/>
                  </a:moveTo>
                  <a:cubicBezTo>
                    <a:pt x="359" y="116"/>
                    <a:pt x="358" y="90"/>
                    <a:pt x="349" y="79"/>
                  </a:cubicBezTo>
                  <a:cubicBezTo>
                    <a:pt x="331" y="54"/>
                    <a:pt x="198" y="9"/>
                    <a:pt x="111" y="9"/>
                  </a:cubicBezTo>
                  <a:cubicBezTo>
                    <a:pt x="82" y="9"/>
                    <a:pt x="46" y="14"/>
                    <a:pt x="46" y="39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30" y="113"/>
                    <a:pt x="12" y="219"/>
                    <a:pt x="23" y="228"/>
                  </a:cubicBezTo>
                  <a:cubicBezTo>
                    <a:pt x="32" y="237"/>
                    <a:pt x="59" y="239"/>
                    <a:pt x="85" y="241"/>
                  </a:cubicBezTo>
                  <a:cubicBezTo>
                    <a:pt x="108" y="244"/>
                    <a:pt x="134" y="246"/>
                    <a:pt x="155" y="252"/>
                  </a:cubicBezTo>
                  <a:cubicBezTo>
                    <a:pt x="167" y="255"/>
                    <a:pt x="181" y="260"/>
                    <a:pt x="196" y="266"/>
                  </a:cubicBezTo>
                  <a:cubicBezTo>
                    <a:pt x="226" y="276"/>
                    <a:pt x="262" y="288"/>
                    <a:pt x="285" y="288"/>
                  </a:cubicBezTo>
                  <a:cubicBezTo>
                    <a:pt x="292" y="288"/>
                    <a:pt x="299" y="287"/>
                    <a:pt x="303" y="285"/>
                  </a:cubicBezTo>
                  <a:cubicBezTo>
                    <a:pt x="318" y="274"/>
                    <a:pt x="344" y="210"/>
                    <a:pt x="353" y="151"/>
                  </a:cubicBezTo>
                  <a:close/>
                  <a:moveTo>
                    <a:pt x="111" y="0"/>
                  </a:moveTo>
                  <a:cubicBezTo>
                    <a:pt x="197" y="0"/>
                    <a:pt x="335" y="46"/>
                    <a:pt x="355" y="74"/>
                  </a:cubicBezTo>
                  <a:cubicBezTo>
                    <a:pt x="367" y="92"/>
                    <a:pt x="365" y="127"/>
                    <a:pt x="361" y="152"/>
                  </a:cubicBezTo>
                  <a:cubicBezTo>
                    <a:pt x="352" y="210"/>
                    <a:pt x="326" y="278"/>
                    <a:pt x="307" y="290"/>
                  </a:cubicBezTo>
                  <a:cubicBezTo>
                    <a:pt x="301" y="294"/>
                    <a:pt x="294" y="296"/>
                    <a:pt x="285" y="296"/>
                  </a:cubicBezTo>
                  <a:cubicBezTo>
                    <a:pt x="260" y="296"/>
                    <a:pt x="225" y="283"/>
                    <a:pt x="194" y="273"/>
                  </a:cubicBezTo>
                  <a:cubicBezTo>
                    <a:pt x="179" y="268"/>
                    <a:pt x="165" y="262"/>
                    <a:pt x="152" y="259"/>
                  </a:cubicBezTo>
                  <a:cubicBezTo>
                    <a:pt x="133" y="254"/>
                    <a:pt x="107" y="252"/>
                    <a:pt x="85" y="249"/>
                  </a:cubicBezTo>
                  <a:cubicBezTo>
                    <a:pt x="55" y="247"/>
                    <a:pt x="30" y="245"/>
                    <a:pt x="18" y="234"/>
                  </a:cubicBezTo>
                  <a:cubicBezTo>
                    <a:pt x="0" y="218"/>
                    <a:pt x="31" y="69"/>
                    <a:pt x="38" y="39"/>
                  </a:cubicBezTo>
                  <a:cubicBezTo>
                    <a:pt x="39" y="21"/>
                    <a:pt x="52" y="0"/>
                    <a:pt x="111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" name="îşľiḓé">
              <a:extLst>
                <a:ext uri="{FF2B5EF4-FFF2-40B4-BE49-F238E27FC236}">
                  <a16:creationId xmlns="" xmlns:a16="http://schemas.microsoft.com/office/drawing/2014/main" id="{53671F78-E370-4F33-AE9C-872AF4A9850A}"/>
                </a:ext>
              </a:extLst>
            </p:cNvPr>
            <p:cNvSpPr/>
            <p:nvPr/>
          </p:nvSpPr>
          <p:spPr bwMode="auto">
            <a:xfrm>
              <a:off x="827088" y="4614863"/>
              <a:ext cx="176212" cy="190500"/>
            </a:xfrm>
            <a:custGeom>
              <a:avLst/>
              <a:gdLst>
                <a:gd name="T0" fmla="*/ 71 w 491"/>
                <a:gd name="T1" fmla="*/ 150 h 528"/>
                <a:gd name="T2" fmla="*/ 470 w 491"/>
                <a:gd name="T3" fmla="*/ 28 h 528"/>
                <a:gd name="T4" fmla="*/ 451 w 491"/>
                <a:gd name="T5" fmla="*/ 121 h 528"/>
                <a:gd name="T6" fmla="*/ 364 w 491"/>
                <a:gd name="T7" fmla="*/ 502 h 528"/>
                <a:gd name="T8" fmla="*/ 191 w 491"/>
                <a:gd name="T9" fmla="*/ 468 h 528"/>
                <a:gd name="T10" fmla="*/ 42 w 491"/>
                <a:gd name="T11" fmla="*/ 330 h 528"/>
                <a:gd name="T12" fmla="*/ 71 w 491"/>
                <a:gd name="T13" fmla="*/ 15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1" h="528">
                  <a:moveTo>
                    <a:pt x="71" y="150"/>
                  </a:moveTo>
                  <a:cubicBezTo>
                    <a:pt x="103" y="107"/>
                    <a:pt x="449" y="0"/>
                    <a:pt x="470" y="28"/>
                  </a:cubicBezTo>
                  <a:cubicBezTo>
                    <a:pt x="490" y="58"/>
                    <a:pt x="451" y="121"/>
                    <a:pt x="451" y="121"/>
                  </a:cubicBezTo>
                  <a:cubicBezTo>
                    <a:pt x="451" y="121"/>
                    <a:pt x="364" y="479"/>
                    <a:pt x="364" y="502"/>
                  </a:cubicBezTo>
                  <a:cubicBezTo>
                    <a:pt x="364" y="527"/>
                    <a:pt x="220" y="485"/>
                    <a:pt x="191" y="468"/>
                  </a:cubicBezTo>
                  <a:cubicBezTo>
                    <a:pt x="163" y="453"/>
                    <a:pt x="63" y="355"/>
                    <a:pt x="42" y="330"/>
                  </a:cubicBezTo>
                  <a:cubicBezTo>
                    <a:pt x="21" y="303"/>
                    <a:pt x="0" y="242"/>
                    <a:pt x="71" y="150"/>
                  </a:cubicBezTo>
                </a:path>
              </a:pathLst>
            </a:custGeom>
            <a:solidFill>
              <a:srgbClr val="86C5EC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" name="ïśľiḋe">
              <a:extLst>
                <a:ext uri="{FF2B5EF4-FFF2-40B4-BE49-F238E27FC236}">
                  <a16:creationId xmlns="" xmlns:a16="http://schemas.microsoft.com/office/drawing/2014/main" id="{DD19645A-AF0C-4A7B-8D6F-FAC9D370C4EA}"/>
                </a:ext>
              </a:extLst>
            </p:cNvPr>
            <p:cNvSpPr/>
            <p:nvPr/>
          </p:nvSpPr>
          <p:spPr bwMode="auto">
            <a:xfrm>
              <a:off x="823913" y="4622800"/>
              <a:ext cx="182562" cy="176213"/>
            </a:xfrm>
            <a:custGeom>
              <a:avLst/>
              <a:gdLst>
                <a:gd name="T0" fmla="*/ 459 w 507"/>
                <a:gd name="T1" fmla="*/ 98 h 491"/>
                <a:gd name="T2" fmla="*/ 478 w 507"/>
                <a:gd name="T3" fmla="*/ 10 h 491"/>
                <a:gd name="T4" fmla="*/ 462 w 507"/>
                <a:gd name="T5" fmla="*/ 8 h 491"/>
                <a:gd name="T6" fmla="*/ 86 w 507"/>
                <a:gd name="T7" fmla="*/ 131 h 491"/>
                <a:gd name="T8" fmla="*/ 57 w 507"/>
                <a:gd name="T9" fmla="*/ 305 h 491"/>
                <a:gd name="T10" fmla="*/ 205 w 507"/>
                <a:gd name="T11" fmla="*/ 442 h 491"/>
                <a:gd name="T12" fmla="*/ 359 w 507"/>
                <a:gd name="T13" fmla="*/ 482 h 491"/>
                <a:gd name="T14" fmla="*/ 372 w 507"/>
                <a:gd name="T15" fmla="*/ 479 h 491"/>
                <a:gd name="T16" fmla="*/ 458 w 507"/>
                <a:gd name="T17" fmla="*/ 100 h 491"/>
                <a:gd name="T18" fmla="*/ 459 w 507"/>
                <a:gd name="T19" fmla="*/ 98 h 491"/>
                <a:gd name="T20" fmla="*/ 462 w 507"/>
                <a:gd name="T21" fmla="*/ 0 h 491"/>
                <a:gd name="T22" fmla="*/ 484 w 507"/>
                <a:gd name="T23" fmla="*/ 6 h 491"/>
                <a:gd name="T24" fmla="*/ 466 w 507"/>
                <a:gd name="T25" fmla="*/ 102 h 491"/>
                <a:gd name="T26" fmla="*/ 380 w 507"/>
                <a:gd name="T27" fmla="*/ 479 h 491"/>
                <a:gd name="T28" fmla="*/ 359 w 507"/>
                <a:gd name="T29" fmla="*/ 490 h 491"/>
                <a:gd name="T30" fmla="*/ 202 w 507"/>
                <a:gd name="T31" fmla="*/ 449 h 491"/>
                <a:gd name="T32" fmla="*/ 51 w 507"/>
                <a:gd name="T33" fmla="*/ 310 h 491"/>
                <a:gd name="T34" fmla="*/ 80 w 507"/>
                <a:gd name="T35" fmla="*/ 126 h 491"/>
                <a:gd name="T36" fmla="*/ 462 w 507"/>
                <a:gd name="T37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7" h="491">
                  <a:moveTo>
                    <a:pt x="459" y="98"/>
                  </a:moveTo>
                  <a:cubicBezTo>
                    <a:pt x="459" y="97"/>
                    <a:pt x="496" y="37"/>
                    <a:pt x="478" y="10"/>
                  </a:cubicBezTo>
                  <a:cubicBezTo>
                    <a:pt x="477" y="10"/>
                    <a:pt x="474" y="8"/>
                    <a:pt x="462" y="8"/>
                  </a:cubicBezTo>
                  <a:cubicBezTo>
                    <a:pt x="383" y="8"/>
                    <a:pt x="112" y="96"/>
                    <a:pt x="86" y="131"/>
                  </a:cubicBezTo>
                  <a:cubicBezTo>
                    <a:pt x="10" y="229"/>
                    <a:pt x="45" y="289"/>
                    <a:pt x="57" y="305"/>
                  </a:cubicBezTo>
                  <a:cubicBezTo>
                    <a:pt x="79" y="330"/>
                    <a:pt x="177" y="427"/>
                    <a:pt x="205" y="442"/>
                  </a:cubicBezTo>
                  <a:cubicBezTo>
                    <a:pt x="227" y="454"/>
                    <a:pt x="321" y="482"/>
                    <a:pt x="359" y="482"/>
                  </a:cubicBezTo>
                  <a:cubicBezTo>
                    <a:pt x="369" y="482"/>
                    <a:pt x="372" y="481"/>
                    <a:pt x="372" y="479"/>
                  </a:cubicBezTo>
                  <a:cubicBezTo>
                    <a:pt x="372" y="456"/>
                    <a:pt x="455" y="114"/>
                    <a:pt x="458" y="100"/>
                  </a:cubicBezTo>
                  <a:cubicBezTo>
                    <a:pt x="459" y="98"/>
                    <a:pt x="459" y="98"/>
                    <a:pt x="459" y="98"/>
                  </a:cubicBezTo>
                  <a:close/>
                  <a:moveTo>
                    <a:pt x="462" y="0"/>
                  </a:moveTo>
                  <a:cubicBezTo>
                    <a:pt x="473" y="0"/>
                    <a:pt x="481" y="2"/>
                    <a:pt x="484" y="6"/>
                  </a:cubicBezTo>
                  <a:cubicBezTo>
                    <a:pt x="506" y="36"/>
                    <a:pt x="470" y="95"/>
                    <a:pt x="466" y="102"/>
                  </a:cubicBezTo>
                  <a:cubicBezTo>
                    <a:pt x="436" y="225"/>
                    <a:pt x="380" y="461"/>
                    <a:pt x="380" y="479"/>
                  </a:cubicBezTo>
                  <a:cubicBezTo>
                    <a:pt x="380" y="487"/>
                    <a:pt x="373" y="490"/>
                    <a:pt x="359" y="490"/>
                  </a:cubicBezTo>
                  <a:cubicBezTo>
                    <a:pt x="320" y="490"/>
                    <a:pt x="225" y="461"/>
                    <a:pt x="202" y="449"/>
                  </a:cubicBezTo>
                  <a:cubicBezTo>
                    <a:pt x="173" y="434"/>
                    <a:pt x="73" y="336"/>
                    <a:pt x="51" y="310"/>
                  </a:cubicBezTo>
                  <a:cubicBezTo>
                    <a:pt x="38" y="292"/>
                    <a:pt x="0" y="229"/>
                    <a:pt x="80" y="126"/>
                  </a:cubicBezTo>
                  <a:cubicBezTo>
                    <a:pt x="111" y="87"/>
                    <a:pt x="386" y="0"/>
                    <a:pt x="462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8" name="ïṩlîḑe">
              <a:extLst>
                <a:ext uri="{FF2B5EF4-FFF2-40B4-BE49-F238E27FC236}">
                  <a16:creationId xmlns="" xmlns:a16="http://schemas.microsoft.com/office/drawing/2014/main" id="{70351898-957A-4585-9F33-70F7D8089E79}"/>
                </a:ext>
              </a:extLst>
            </p:cNvPr>
            <p:cNvSpPr/>
            <p:nvPr/>
          </p:nvSpPr>
          <p:spPr bwMode="auto">
            <a:xfrm>
              <a:off x="1020763" y="4613275"/>
              <a:ext cx="163512" cy="203200"/>
            </a:xfrm>
            <a:custGeom>
              <a:avLst/>
              <a:gdLst>
                <a:gd name="T0" fmla="*/ 60 w 455"/>
                <a:gd name="T1" fmla="*/ 21 h 563"/>
                <a:gd name="T2" fmla="*/ 446 w 455"/>
                <a:gd name="T3" fmla="*/ 229 h 563"/>
                <a:gd name="T4" fmla="*/ 420 w 455"/>
                <a:gd name="T5" fmla="*/ 385 h 563"/>
                <a:gd name="T6" fmla="*/ 230 w 455"/>
                <a:gd name="T7" fmla="*/ 498 h 563"/>
                <a:gd name="T8" fmla="*/ 73 w 455"/>
                <a:gd name="T9" fmla="*/ 550 h 563"/>
                <a:gd name="T10" fmla="*/ 73 w 455"/>
                <a:gd name="T11" fmla="*/ 489 h 563"/>
                <a:gd name="T12" fmla="*/ 60 w 455"/>
                <a:gd name="T13" fmla="*/ 21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5" h="563">
                  <a:moveTo>
                    <a:pt x="60" y="21"/>
                  </a:moveTo>
                  <a:cubicBezTo>
                    <a:pt x="120" y="0"/>
                    <a:pt x="438" y="192"/>
                    <a:pt x="446" y="229"/>
                  </a:cubicBezTo>
                  <a:cubicBezTo>
                    <a:pt x="454" y="265"/>
                    <a:pt x="430" y="348"/>
                    <a:pt x="420" y="385"/>
                  </a:cubicBezTo>
                  <a:cubicBezTo>
                    <a:pt x="409" y="422"/>
                    <a:pt x="267" y="466"/>
                    <a:pt x="230" y="498"/>
                  </a:cubicBezTo>
                  <a:cubicBezTo>
                    <a:pt x="185" y="535"/>
                    <a:pt x="68" y="562"/>
                    <a:pt x="73" y="550"/>
                  </a:cubicBezTo>
                  <a:cubicBezTo>
                    <a:pt x="78" y="537"/>
                    <a:pt x="73" y="489"/>
                    <a:pt x="73" y="489"/>
                  </a:cubicBezTo>
                  <a:cubicBezTo>
                    <a:pt x="73" y="489"/>
                    <a:pt x="0" y="42"/>
                    <a:pt x="60" y="21"/>
                  </a:cubicBezTo>
                </a:path>
              </a:pathLst>
            </a:custGeom>
            <a:solidFill>
              <a:srgbClr val="86C5EC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9" name="îś1íḍê">
              <a:extLst>
                <a:ext uri="{FF2B5EF4-FFF2-40B4-BE49-F238E27FC236}">
                  <a16:creationId xmlns="" xmlns:a16="http://schemas.microsoft.com/office/drawing/2014/main" id="{393F98C7-01EB-4F08-B0FA-342659DF9524}"/>
                </a:ext>
              </a:extLst>
            </p:cNvPr>
            <p:cNvSpPr/>
            <p:nvPr/>
          </p:nvSpPr>
          <p:spPr bwMode="auto">
            <a:xfrm>
              <a:off x="1028700" y="4619625"/>
              <a:ext cx="158750" cy="195263"/>
            </a:xfrm>
            <a:custGeom>
              <a:avLst/>
              <a:gdLst>
                <a:gd name="T0" fmla="*/ 398 w 441"/>
                <a:gd name="T1" fmla="*/ 368 h 542"/>
                <a:gd name="T2" fmla="*/ 424 w 441"/>
                <a:gd name="T3" fmla="*/ 212 h 542"/>
                <a:gd name="T4" fmla="*/ 266 w 441"/>
                <a:gd name="T5" fmla="*/ 98 h 542"/>
                <a:gd name="T6" fmla="*/ 52 w 441"/>
                <a:gd name="T7" fmla="*/ 7 h 542"/>
                <a:gd name="T8" fmla="*/ 42 w 441"/>
                <a:gd name="T9" fmla="*/ 9 h 542"/>
                <a:gd name="T10" fmla="*/ 58 w 441"/>
                <a:gd name="T11" fmla="*/ 474 h 542"/>
                <a:gd name="T12" fmla="*/ 58 w 441"/>
                <a:gd name="T13" fmla="*/ 533 h 542"/>
                <a:gd name="T14" fmla="*/ 61 w 441"/>
                <a:gd name="T15" fmla="*/ 533 h 542"/>
                <a:gd name="T16" fmla="*/ 209 w 441"/>
                <a:gd name="T17" fmla="*/ 479 h 542"/>
                <a:gd name="T18" fmla="*/ 289 w 441"/>
                <a:gd name="T19" fmla="*/ 437 h 542"/>
                <a:gd name="T20" fmla="*/ 398 w 441"/>
                <a:gd name="T21" fmla="*/ 368 h 542"/>
                <a:gd name="T22" fmla="*/ 269 w 441"/>
                <a:gd name="T23" fmla="*/ 92 h 542"/>
                <a:gd name="T24" fmla="*/ 431 w 441"/>
                <a:gd name="T25" fmla="*/ 211 h 542"/>
                <a:gd name="T26" fmla="*/ 406 w 441"/>
                <a:gd name="T27" fmla="*/ 370 h 542"/>
                <a:gd name="T28" fmla="*/ 292 w 441"/>
                <a:gd name="T29" fmla="*/ 444 h 542"/>
                <a:gd name="T30" fmla="*/ 214 w 441"/>
                <a:gd name="T31" fmla="*/ 486 h 542"/>
                <a:gd name="T32" fmla="*/ 61 w 441"/>
                <a:gd name="T33" fmla="*/ 541 h 542"/>
                <a:gd name="T34" fmla="*/ 51 w 441"/>
                <a:gd name="T35" fmla="*/ 538 h 542"/>
                <a:gd name="T36" fmla="*/ 50 w 441"/>
                <a:gd name="T37" fmla="*/ 533 h 542"/>
                <a:gd name="T38" fmla="*/ 50 w 441"/>
                <a:gd name="T39" fmla="*/ 475 h 542"/>
                <a:gd name="T40" fmla="*/ 21 w 441"/>
                <a:gd name="T41" fmla="*/ 247 h 542"/>
                <a:gd name="T42" fmla="*/ 14 w 441"/>
                <a:gd name="T43" fmla="*/ 87 h 542"/>
                <a:gd name="T44" fmla="*/ 40 w 441"/>
                <a:gd name="T45" fmla="*/ 1 h 542"/>
                <a:gd name="T46" fmla="*/ 52 w 441"/>
                <a:gd name="T47" fmla="*/ 0 h 542"/>
                <a:gd name="T48" fmla="*/ 269 w 441"/>
                <a:gd name="T49" fmla="*/ 9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542">
                  <a:moveTo>
                    <a:pt x="398" y="368"/>
                  </a:moveTo>
                  <a:cubicBezTo>
                    <a:pt x="407" y="336"/>
                    <a:pt x="431" y="250"/>
                    <a:pt x="424" y="212"/>
                  </a:cubicBezTo>
                  <a:cubicBezTo>
                    <a:pt x="421" y="200"/>
                    <a:pt x="361" y="153"/>
                    <a:pt x="266" y="98"/>
                  </a:cubicBezTo>
                  <a:cubicBezTo>
                    <a:pt x="189" y="54"/>
                    <a:pt x="94" y="7"/>
                    <a:pt x="52" y="7"/>
                  </a:cubicBezTo>
                  <a:cubicBezTo>
                    <a:pt x="48" y="7"/>
                    <a:pt x="44" y="8"/>
                    <a:pt x="42" y="9"/>
                  </a:cubicBezTo>
                  <a:cubicBezTo>
                    <a:pt x="0" y="23"/>
                    <a:pt x="28" y="295"/>
                    <a:pt x="58" y="474"/>
                  </a:cubicBezTo>
                  <a:cubicBezTo>
                    <a:pt x="58" y="479"/>
                    <a:pt x="63" y="518"/>
                    <a:pt x="58" y="533"/>
                  </a:cubicBezTo>
                  <a:cubicBezTo>
                    <a:pt x="59" y="533"/>
                    <a:pt x="59" y="533"/>
                    <a:pt x="61" y="533"/>
                  </a:cubicBezTo>
                  <a:cubicBezTo>
                    <a:pt x="84" y="533"/>
                    <a:pt x="172" y="510"/>
                    <a:pt x="209" y="479"/>
                  </a:cubicBezTo>
                  <a:cubicBezTo>
                    <a:pt x="224" y="466"/>
                    <a:pt x="255" y="452"/>
                    <a:pt x="289" y="437"/>
                  </a:cubicBezTo>
                  <a:cubicBezTo>
                    <a:pt x="338" y="413"/>
                    <a:pt x="392" y="389"/>
                    <a:pt x="398" y="368"/>
                  </a:cubicBezTo>
                  <a:close/>
                  <a:moveTo>
                    <a:pt x="269" y="92"/>
                  </a:moveTo>
                  <a:cubicBezTo>
                    <a:pt x="344" y="135"/>
                    <a:pt x="427" y="190"/>
                    <a:pt x="431" y="211"/>
                  </a:cubicBezTo>
                  <a:cubicBezTo>
                    <a:pt x="440" y="250"/>
                    <a:pt x="415" y="337"/>
                    <a:pt x="406" y="370"/>
                  </a:cubicBezTo>
                  <a:cubicBezTo>
                    <a:pt x="399" y="394"/>
                    <a:pt x="344" y="419"/>
                    <a:pt x="292" y="444"/>
                  </a:cubicBezTo>
                  <a:cubicBezTo>
                    <a:pt x="259" y="459"/>
                    <a:pt x="227" y="473"/>
                    <a:pt x="214" y="486"/>
                  </a:cubicBezTo>
                  <a:cubicBezTo>
                    <a:pt x="176" y="516"/>
                    <a:pt x="88" y="541"/>
                    <a:pt x="61" y="541"/>
                  </a:cubicBezTo>
                  <a:cubicBezTo>
                    <a:pt x="56" y="541"/>
                    <a:pt x="52" y="540"/>
                    <a:pt x="51" y="538"/>
                  </a:cubicBezTo>
                  <a:cubicBezTo>
                    <a:pt x="50" y="537"/>
                    <a:pt x="50" y="534"/>
                    <a:pt x="50" y="533"/>
                  </a:cubicBezTo>
                  <a:cubicBezTo>
                    <a:pt x="55" y="523"/>
                    <a:pt x="51" y="488"/>
                    <a:pt x="50" y="475"/>
                  </a:cubicBezTo>
                  <a:cubicBezTo>
                    <a:pt x="50" y="474"/>
                    <a:pt x="32" y="361"/>
                    <a:pt x="21" y="247"/>
                  </a:cubicBezTo>
                  <a:cubicBezTo>
                    <a:pt x="15" y="181"/>
                    <a:pt x="12" y="126"/>
                    <a:pt x="14" y="87"/>
                  </a:cubicBezTo>
                  <a:cubicBezTo>
                    <a:pt x="15" y="35"/>
                    <a:pt x="25" y="7"/>
                    <a:pt x="40" y="1"/>
                  </a:cubicBezTo>
                  <a:cubicBezTo>
                    <a:pt x="43" y="0"/>
                    <a:pt x="48" y="0"/>
                    <a:pt x="52" y="0"/>
                  </a:cubicBezTo>
                  <a:cubicBezTo>
                    <a:pt x="107" y="0"/>
                    <a:pt x="232" y="69"/>
                    <a:pt x="269" y="92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0" name="îsľîḓe">
              <a:extLst>
                <a:ext uri="{FF2B5EF4-FFF2-40B4-BE49-F238E27FC236}">
                  <a16:creationId xmlns="" xmlns:a16="http://schemas.microsoft.com/office/drawing/2014/main" id="{5EAB3DFE-62FC-40D4-80DD-78DB9C893F04}"/>
                </a:ext>
              </a:extLst>
            </p:cNvPr>
            <p:cNvSpPr/>
            <p:nvPr/>
          </p:nvSpPr>
          <p:spPr bwMode="auto">
            <a:xfrm>
              <a:off x="871538" y="4979988"/>
              <a:ext cx="104775" cy="127000"/>
            </a:xfrm>
            <a:custGeom>
              <a:avLst/>
              <a:gdLst>
                <a:gd name="T0" fmla="*/ 233 w 292"/>
                <a:gd name="T1" fmla="*/ 304 h 354"/>
                <a:gd name="T2" fmla="*/ 291 w 292"/>
                <a:gd name="T3" fmla="*/ 343 h 354"/>
                <a:gd name="T4" fmla="*/ 253 w 292"/>
                <a:gd name="T5" fmla="*/ 345 h 354"/>
                <a:gd name="T6" fmla="*/ 246 w 292"/>
                <a:gd name="T7" fmla="*/ 353 h 354"/>
                <a:gd name="T8" fmla="*/ 59 w 292"/>
                <a:gd name="T9" fmla="*/ 292 h 354"/>
                <a:gd name="T10" fmla="*/ 14 w 292"/>
                <a:gd name="T11" fmla="*/ 82 h 354"/>
                <a:gd name="T12" fmla="*/ 0 w 292"/>
                <a:gd name="T13" fmla="*/ 46 h 354"/>
                <a:gd name="T14" fmla="*/ 103 w 292"/>
                <a:gd name="T15" fmla="*/ 11 h 354"/>
                <a:gd name="T16" fmla="*/ 120 w 292"/>
                <a:gd name="T17" fmla="*/ 88 h 354"/>
                <a:gd name="T18" fmla="*/ 168 w 292"/>
                <a:gd name="T19" fmla="*/ 172 h 354"/>
                <a:gd name="T20" fmla="*/ 176 w 292"/>
                <a:gd name="T21" fmla="*/ 231 h 354"/>
                <a:gd name="T22" fmla="*/ 189 w 292"/>
                <a:gd name="T23" fmla="*/ 256 h 354"/>
                <a:gd name="T24" fmla="*/ 209 w 292"/>
                <a:gd name="T25" fmla="*/ 272 h 354"/>
                <a:gd name="T26" fmla="*/ 268 w 292"/>
                <a:gd name="T27" fmla="*/ 270 h 354"/>
                <a:gd name="T28" fmla="*/ 286 w 292"/>
                <a:gd name="T29" fmla="*/ 290 h 354"/>
                <a:gd name="T30" fmla="*/ 233 w 292"/>
                <a:gd name="T31" fmla="*/ 30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2" h="354">
                  <a:moveTo>
                    <a:pt x="233" y="304"/>
                  </a:moveTo>
                  <a:cubicBezTo>
                    <a:pt x="233" y="304"/>
                    <a:pt x="285" y="312"/>
                    <a:pt x="291" y="343"/>
                  </a:cubicBezTo>
                  <a:lnTo>
                    <a:pt x="253" y="345"/>
                  </a:lnTo>
                  <a:lnTo>
                    <a:pt x="246" y="353"/>
                  </a:lnTo>
                  <a:cubicBezTo>
                    <a:pt x="246" y="353"/>
                    <a:pt x="112" y="343"/>
                    <a:pt x="59" y="292"/>
                  </a:cubicBezTo>
                  <a:cubicBezTo>
                    <a:pt x="47" y="281"/>
                    <a:pt x="22" y="97"/>
                    <a:pt x="14" y="82"/>
                  </a:cubicBezTo>
                  <a:cubicBezTo>
                    <a:pt x="6" y="66"/>
                    <a:pt x="0" y="46"/>
                    <a:pt x="0" y="46"/>
                  </a:cubicBezTo>
                  <a:cubicBezTo>
                    <a:pt x="0" y="46"/>
                    <a:pt x="79" y="0"/>
                    <a:pt x="103" y="11"/>
                  </a:cubicBezTo>
                  <a:cubicBezTo>
                    <a:pt x="103" y="11"/>
                    <a:pt x="111" y="74"/>
                    <a:pt x="120" y="88"/>
                  </a:cubicBezTo>
                  <a:cubicBezTo>
                    <a:pt x="131" y="102"/>
                    <a:pt x="162" y="148"/>
                    <a:pt x="168" y="172"/>
                  </a:cubicBezTo>
                  <a:cubicBezTo>
                    <a:pt x="174" y="196"/>
                    <a:pt x="176" y="231"/>
                    <a:pt x="176" y="231"/>
                  </a:cubicBezTo>
                  <a:lnTo>
                    <a:pt x="189" y="256"/>
                  </a:lnTo>
                  <a:lnTo>
                    <a:pt x="209" y="272"/>
                  </a:lnTo>
                  <a:cubicBezTo>
                    <a:pt x="209" y="272"/>
                    <a:pt x="254" y="264"/>
                    <a:pt x="268" y="270"/>
                  </a:cubicBezTo>
                  <a:cubicBezTo>
                    <a:pt x="282" y="276"/>
                    <a:pt x="286" y="290"/>
                    <a:pt x="286" y="290"/>
                  </a:cubicBezTo>
                  <a:lnTo>
                    <a:pt x="233" y="304"/>
                  </a:ln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1" name="išḻïḑê">
              <a:extLst>
                <a:ext uri="{FF2B5EF4-FFF2-40B4-BE49-F238E27FC236}">
                  <a16:creationId xmlns="" xmlns:a16="http://schemas.microsoft.com/office/drawing/2014/main" id="{3D2E826C-39B8-48EB-94AF-A65329772F3C}"/>
                </a:ext>
              </a:extLst>
            </p:cNvPr>
            <p:cNvSpPr/>
            <p:nvPr/>
          </p:nvSpPr>
          <p:spPr bwMode="auto">
            <a:xfrm>
              <a:off x="871538" y="4983163"/>
              <a:ext cx="106362" cy="127000"/>
            </a:xfrm>
            <a:custGeom>
              <a:avLst/>
              <a:gdLst>
                <a:gd name="T0" fmla="*/ 254 w 297"/>
                <a:gd name="T1" fmla="*/ 335 h 353"/>
                <a:gd name="T2" fmla="*/ 287 w 297"/>
                <a:gd name="T3" fmla="*/ 334 h 353"/>
                <a:gd name="T4" fmla="*/ 235 w 297"/>
                <a:gd name="T5" fmla="*/ 302 h 353"/>
                <a:gd name="T6" fmla="*/ 231 w 297"/>
                <a:gd name="T7" fmla="*/ 298 h 353"/>
                <a:gd name="T8" fmla="*/ 235 w 297"/>
                <a:gd name="T9" fmla="*/ 295 h 353"/>
                <a:gd name="T10" fmla="*/ 283 w 297"/>
                <a:gd name="T11" fmla="*/ 282 h 353"/>
                <a:gd name="T12" fmla="*/ 269 w 297"/>
                <a:gd name="T13" fmla="*/ 268 h 353"/>
                <a:gd name="T14" fmla="*/ 254 w 297"/>
                <a:gd name="T15" fmla="*/ 267 h 353"/>
                <a:gd name="T16" fmla="*/ 213 w 297"/>
                <a:gd name="T17" fmla="*/ 270 h 353"/>
                <a:gd name="T18" fmla="*/ 209 w 297"/>
                <a:gd name="T19" fmla="*/ 269 h 353"/>
                <a:gd name="T20" fmla="*/ 189 w 297"/>
                <a:gd name="T21" fmla="*/ 254 h 353"/>
                <a:gd name="T22" fmla="*/ 188 w 297"/>
                <a:gd name="T23" fmla="*/ 253 h 353"/>
                <a:gd name="T24" fmla="*/ 176 w 297"/>
                <a:gd name="T25" fmla="*/ 227 h 353"/>
                <a:gd name="T26" fmla="*/ 174 w 297"/>
                <a:gd name="T27" fmla="*/ 226 h 353"/>
                <a:gd name="T28" fmla="*/ 166 w 297"/>
                <a:gd name="T29" fmla="*/ 167 h 353"/>
                <a:gd name="T30" fmla="*/ 120 w 297"/>
                <a:gd name="T31" fmla="*/ 84 h 353"/>
                <a:gd name="T32" fmla="*/ 103 w 297"/>
                <a:gd name="T33" fmla="*/ 8 h 353"/>
                <a:gd name="T34" fmla="*/ 98 w 297"/>
                <a:gd name="T35" fmla="*/ 8 h 353"/>
                <a:gd name="T36" fmla="*/ 9 w 297"/>
                <a:gd name="T37" fmla="*/ 43 h 353"/>
                <a:gd name="T38" fmla="*/ 22 w 297"/>
                <a:gd name="T39" fmla="*/ 74 h 353"/>
                <a:gd name="T40" fmla="*/ 38 w 297"/>
                <a:gd name="T41" fmla="*/ 158 h 353"/>
                <a:gd name="T42" fmla="*/ 66 w 297"/>
                <a:gd name="T43" fmla="*/ 283 h 353"/>
                <a:gd name="T44" fmla="*/ 247 w 297"/>
                <a:gd name="T45" fmla="*/ 344 h 353"/>
                <a:gd name="T46" fmla="*/ 252 w 297"/>
                <a:gd name="T47" fmla="*/ 337 h 353"/>
                <a:gd name="T48" fmla="*/ 254 w 297"/>
                <a:gd name="T49" fmla="*/ 335 h 353"/>
                <a:gd name="T50" fmla="*/ 251 w 297"/>
                <a:gd name="T51" fmla="*/ 298 h 353"/>
                <a:gd name="T52" fmla="*/ 296 w 297"/>
                <a:gd name="T53" fmla="*/ 337 h 353"/>
                <a:gd name="T54" fmla="*/ 295 w 297"/>
                <a:gd name="T55" fmla="*/ 340 h 353"/>
                <a:gd name="T56" fmla="*/ 292 w 297"/>
                <a:gd name="T57" fmla="*/ 341 h 353"/>
                <a:gd name="T58" fmla="*/ 256 w 297"/>
                <a:gd name="T59" fmla="*/ 344 h 353"/>
                <a:gd name="T60" fmla="*/ 252 w 297"/>
                <a:gd name="T61" fmla="*/ 349 h 353"/>
                <a:gd name="T62" fmla="*/ 248 w 297"/>
                <a:gd name="T63" fmla="*/ 352 h 353"/>
                <a:gd name="T64" fmla="*/ 60 w 297"/>
                <a:gd name="T65" fmla="*/ 289 h 353"/>
                <a:gd name="T66" fmla="*/ 31 w 297"/>
                <a:gd name="T67" fmla="*/ 159 h 353"/>
                <a:gd name="T68" fmla="*/ 15 w 297"/>
                <a:gd name="T69" fmla="*/ 77 h 353"/>
                <a:gd name="T70" fmla="*/ 1 w 297"/>
                <a:gd name="T71" fmla="*/ 41 h 353"/>
                <a:gd name="T72" fmla="*/ 2 w 297"/>
                <a:gd name="T73" fmla="*/ 37 h 353"/>
                <a:gd name="T74" fmla="*/ 98 w 297"/>
                <a:gd name="T75" fmla="*/ 0 h 353"/>
                <a:gd name="T76" fmla="*/ 107 w 297"/>
                <a:gd name="T77" fmla="*/ 2 h 353"/>
                <a:gd name="T78" fmla="*/ 110 w 297"/>
                <a:gd name="T79" fmla="*/ 4 h 353"/>
                <a:gd name="T80" fmla="*/ 127 w 297"/>
                <a:gd name="T81" fmla="*/ 80 h 353"/>
                <a:gd name="T82" fmla="*/ 174 w 297"/>
                <a:gd name="T83" fmla="*/ 166 h 353"/>
                <a:gd name="T84" fmla="*/ 183 w 297"/>
                <a:gd name="T85" fmla="*/ 224 h 353"/>
                <a:gd name="T86" fmla="*/ 195 w 297"/>
                <a:gd name="T87" fmla="*/ 248 h 353"/>
                <a:gd name="T88" fmla="*/ 213 w 297"/>
                <a:gd name="T89" fmla="*/ 262 h 353"/>
                <a:gd name="T90" fmla="*/ 254 w 297"/>
                <a:gd name="T91" fmla="*/ 259 h 353"/>
                <a:gd name="T92" fmla="*/ 272 w 297"/>
                <a:gd name="T93" fmla="*/ 261 h 353"/>
                <a:gd name="T94" fmla="*/ 292 w 297"/>
                <a:gd name="T95" fmla="*/ 283 h 353"/>
                <a:gd name="T96" fmla="*/ 291 w 297"/>
                <a:gd name="T97" fmla="*/ 287 h 353"/>
                <a:gd name="T98" fmla="*/ 289 w 297"/>
                <a:gd name="T99" fmla="*/ 288 h 353"/>
                <a:gd name="T100" fmla="*/ 251 w 297"/>
                <a:gd name="T101" fmla="*/ 29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7" h="353">
                  <a:moveTo>
                    <a:pt x="254" y="335"/>
                  </a:moveTo>
                  <a:lnTo>
                    <a:pt x="287" y="334"/>
                  </a:lnTo>
                  <a:cubicBezTo>
                    <a:pt x="277" y="309"/>
                    <a:pt x="235" y="302"/>
                    <a:pt x="235" y="302"/>
                  </a:cubicBezTo>
                  <a:cubicBezTo>
                    <a:pt x="232" y="302"/>
                    <a:pt x="231" y="301"/>
                    <a:pt x="231" y="298"/>
                  </a:cubicBezTo>
                  <a:cubicBezTo>
                    <a:pt x="231" y="296"/>
                    <a:pt x="232" y="295"/>
                    <a:pt x="235" y="295"/>
                  </a:cubicBezTo>
                  <a:lnTo>
                    <a:pt x="283" y="282"/>
                  </a:lnTo>
                  <a:cubicBezTo>
                    <a:pt x="281" y="277"/>
                    <a:pt x="276" y="272"/>
                    <a:pt x="269" y="268"/>
                  </a:cubicBezTo>
                  <a:cubicBezTo>
                    <a:pt x="267" y="267"/>
                    <a:pt x="262" y="267"/>
                    <a:pt x="254" y="267"/>
                  </a:cubicBezTo>
                  <a:cubicBezTo>
                    <a:pt x="236" y="267"/>
                    <a:pt x="213" y="270"/>
                    <a:pt x="213" y="270"/>
                  </a:cubicBezTo>
                  <a:cubicBezTo>
                    <a:pt x="211" y="270"/>
                    <a:pt x="210" y="270"/>
                    <a:pt x="209" y="269"/>
                  </a:cubicBezTo>
                  <a:lnTo>
                    <a:pt x="189" y="254"/>
                  </a:lnTo>
                  <a:cubicBezTo>
                    <a:pt x="189" y="254"/>
                    <a:pt x="189" y="253"/>
                    <a:pt x="188" y="253"/>
                  </a:cubicBezTo>
                  <a:lnTo>
                    <a:pt x="176" y="227"/>
                  </a:lnTo>
                  <a:cubicBezTo>
                    <a:pt x="174" y="227"/>
                    <a:pt x="174" y="226"/>
                    <a:pt x="174" y="226"/>
                  </a:cubicBezTo>
                  <a:cubicBezTo>
                    <a:pt x="174" y="225"/>
                    <a:pt x="172" y="190"/>
                    <a:pt x="166" y="167"/>
                  </a:cubicBezTo>
                  <a:cubicBezTo>
                    <a:pt x="162" y="145"/>
                    <a:pt x="131" y="98"/>
                    <a:pt x="120" y="84"/>
                  </a:cubicBezTo>
                  <a:cubicBezTo>
                    <a:pt x="111" y="72"/>
                    <a:pt x="104" y="22"/>
                    <a:pt x="103" y="8"/>
                  </a:cubicBezTo>
                  <a:cubicBezTo>
                    <a:pt x="102" y="8"/>
                    <a:pt x="99" y="8"/>
                    <a:pt x="98" y="8"/>
                  </a:cubicBezTo>
                  <a:cubicBezTo>
                    <a:pt x="73" y="8"/>
                    <a:pt x="22" y="36"/>
                    <a:pt x="9" y="43"/>
                  </a:cubicBezTo>
                  <a:cubicBezTo>
                    <a:pt x="11" y="48"/>
                    <a:pt x="16" y="62"/>
                    <a:pt x="22" y="74"/>
                  </a:cubicBezTo>
                  <a:cubicBezTo>
                    <a:pt x="25" y="81"/>
                    <a:pt x="30" y="110"/>
                    <a:pt x="38" y="158"/>
                  </a:cubicBezTo>
                  <a:cubicBezTo>
                    <a:pt x="47" y="205"/>
                    <a:pt x="60" y="277"/>
                    <a:pt x="66" y="283"/>
                  </a:cubicBezTo>
                  <a:cubicBezTo>
                    <a:pt x="113" y="330"/>
                    <a:pt x="230" y="341"/>
                    <a:pt x="247" y="344"/>
                  </a:cubicBezTo>
                  <a:lnTo>
                    <a:pt x="252" y="337"/>
                  </a:lnTo>
                  <a:cubicBezTo>
                    <a:pt x="252" y="337"/>
                    <a:pt x="253" y="335"/>
                    <a:pt x="254" y="335"/>
                  </a:cubicBezTo>
                  <a:close/>
                  <a:moveTo>
                    <a:pt x="251" y="298"/>
                  </a:moveTo>
                  <a:cubicBezTo>
                    <a:pt x="268" y="303"/>
                    <a:pt x="291" y="315"/>
                    <a:pt x="296" y="337"/>
                  </a:cubicBezTo>
                  <a:cubicBezTo>
                    <a:pt x="296" y="338"/>
                    <a:pt x="296" y="339"/>
                    <a:pt x="295" y="340"/>
                  </a:cubicBezTo>
                  <a:cubicBezTo>
                    <a:pt x="295" y="341"/>
                    <a:pt x="293" y="341"/>
                    <a:pt x="292" y="341"/>
                  </a:cubicBezTo>
                  <a:lnTo>
                    <a:pt x="256" y="344"/>
                  </a:lnTo>
                  <a:lnTo>
                    <a:pt x="252" y="349"/>
                  </a:lnTo>
                  <a:cubicBezTo>
                    <a:pt x="251" y="351"/>
                    <a:pt x="250" y="352"/>
                    <a:pt x="248" y="352"/>
                  </a:cubicBezTo>
                  <a:cubicBezTo>
                    <a:pt x="243" y="351"/>
                    <a:pt x="113" y="340"/>
                    <a:pt x="60" y="289"/>
                  </a:cubicBezTo>
                  <a:cubicBezTo>
                    <a:pt x="53" y="282"/>
                    <a:pt x="44" y="233"/>
                    <a:pt x="31" y="159"/>
                  </a:cubicBezTo>
                  <a:cubicBezTo>
                    <a:pt x="24" y="122"/>
                    <a:pt x="17" y="83"/>
                    <a:pt x="15" y="77"/>
                  </a:cubicBezTo>
                  <a:cubicBezTo>
                    <a:pt x="7" y="62"/>
                    <a:pt x="1" y="43"/>
                    <a:pt x="1" y="41"/>
                  </a:cubicBezTo>
                  <a:cubicBezTo>
                    <a:pt x="0" y="40"/>
                    <a:pt x="1" y="38"/>
                    <a:pt x="2" y="37"/>
                  </a:cubicBezTo>
                  <a:cubicBezTo>
                    <a:pt x="6" y="36"/>
                    <a:pt x="67" y="0"/>
                    <a:pt x="98" y="0"/>
                  </a:cubicBezTo>
                  <a:cubicBezTo>
                    <a:pt x="102" y="0"/>
                    <a:pt x="105" y="1"/>
                    <a:pt x="107" y="2"/>
                  </a:cubicBezTo>
                  <a:cubicBezTo>
                    <a:pt x="109" y="2"/>
                    <a:pt x="110" y="3"/>
                    <a:pt x="110" y="4"/>
                  </a:cubicBezTo>
                  <a:cubicBezTo>
                    <a:pt x="112" y="22"/>
                    <a:pt x="119" y="69"/>
                    <a:pt x="127" y="80"/>
                  </a:cubicBezTo>
                  <a:cubicBezTo>
                    <a:pt x="127" y="80"/>
                    <a:pt x="167" y="137"/>
                    <a:pt x="174" y="166"/>
                  </a:cubicBezTo>
                  <a:cubicBezTo>
                    <a:pt x="180" y="188"/>
                    <a:pt x="183" y="218"/>
                    <a:pt x="183" y="224"/>
                  </a:cubicBezTo>
                  <a:lnTo>
                    <a:pt x="195" y="248"/>
                  </a:lnTo>
                  <a:lnTo>
                    <a:pt x="213" y="262"/>
                  </a:lnTo>
                  <a:cubicBezTo>
                    <a:pt x="218" y="261"/>
                    <a:pt x="238" y="259"/>
                    <a:pt x="254" y="259"/>
                  </a:cubicBezTo>
                  <a:cubicBezTo>
                    <a:pt x="262" y="259"/>
                    <a:pt x="268" y="260"/>
                    <a:pt x="272" y="261"/>
                  </a:cubicBezTo>
                  <a:cubicBezTo>
                    <a:pt x="288" y="268"/>
                    <a:pt x="291" y="283"/>
                    <a:pt x="292" y="283"/>
                  </a:cubicBezTo>
                  <a:cubicBezTo>
                    <a:pt x="292" y="284"/>
                    <a:pt x="292" y="286"/>
                    <a:pt x="291" y="287"/>
                  </a:cubicBezTo>
                  <a:cubicBezTo>
                    <a:pt x="291" y="288"/>
                    <a:pt x="290" y="288"/>
                    <a:pt x="289" y="288"/>
                  </a:cubicBezTo>
                  <a:lnTo>
                    <a:pt x="251" y="298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2" name="ïS1îdê">
              <a:extLst>
                <a:ext uri="{FF2B5EF4-FFF2-40B4-BE49-F238E27FC236}">
                  <a16:creationId xmlns="" xmlns:a16="http://schemas.microsoft.com/office/drawing/2014/main" id="{B58686F1-44E2-46FF-9447-535BF9C993B8}"/>
                </a:ext>
              </a:extLst>
            </p:cNvPr>
            <p:cNvSpPr/>
            <p:nvPr/>
          </p:nvSpPr>
          <p:spPr bwMode="auto">
            <a:xfrm>
              <a:off x="823913" y="4659313"/>
              <a:ext cx="88900" cy="344487"/>
            </a:xfrm>
            <a:custGeom>
              <a:avLst/>
              <a:gdLst>
                <a:gd name="T0" fmla="*/ 182 w 245"/>
                <a:gd name="T1" fmla="*/ 499 h 958"/>
                <a:gd name="T2" fmla="*/ 207 w 245"/>
                <a:gd name="T3" fmla="*/ 717 h 958"/>
                <a:gd name="T4" fmla="*/ 244 w 245"/>
                <a:gd name="T5" fmla="*/ 921 h 958"/>
                <a:gd name="T6" fmla="*/ 124 w 245"/>
                <a:gd name="T7" fmla="*/ 957 h 958"/>
                <a:gd name="T8" fmla="*/ 120 w 245"/>
                <a:gd name="T9" fmla="*/ 931 h 958"/>
                <a:gd name="T10" fmla="*/ 15 w 245"/>
                <a:gd name="T11" fmla="*/ 628 h 958"/>
                <a:gd name="T12" fmla="*/ 10 w 245"/>
                <a:gd name="T13" fmla="*/ 523 h 958"/>
                <a:gd name="T14" fmla="*/ 25 w 245"/>
                <a:gd name="T15" fmla="*/ 296 h 958"/>
                <a:gd name="T16" fmla="*/ 39 w 245"/>
                <a:gd name="T17" fmla="*/ 78 h 958"/>
                <a:gd name="T18" fmla="*/ 135 w 245"/>
                <a:gd name="T19" fmla="*/ 26 h 958"/>
                <a:gd name="T20" fmla="*/ 232 w 245"/>
                <a:gd name="T21" fmla="*/ 230 h 958"/>
                <a:gd name="T22" fmla="*/ 192 w 245"/>
                <a:gd name="T23" fmla="*/ 411 h 958"/>
                <a:gd name="T24" fmla="*/ 182 w 245"/>
                <a:gd name="T25" fmla="*/ 499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958">
                  <a:moveTo>
                    <a:pt x="182" y="499"/>
                  </a:moveTo>
                  <a:cubicBezTo>
                    <a:pt x="187" y="526"/>
                    <a:pt x="204" y="665"/>
                    <a:pt x="207" y="717"/>
                  </a:cubicBezTo>
                  <a:cubicBezTo>
                    <a:pt x="209" y="769"/>
                    <a:pt x="244" y="921"/>
                    <a:pt x="244" y="921"/>
                  </a:cubicBezTo>
                  <a:cubicBezTo>
                    <a:pt x="216" y="900"/>
                    <a:pt x="124" y="957"/>
                    <a:pt x="124" y="957"/>
                  </a:cubicBezTo>
                  <a:cubicBezTo>
                    <a:pt x="124" y="957"/>
                    <a:pt x="122" y="949"/>
                    <a:pt x="120" y="931"/>
                  </a:cubicBezTo>
                  <a:cubicBezTo>
                    <a:pt x="116" y="913"/>
                    <a:pt x="31" y="661"/>
                    <a:pt x="15" y="628"/>
                  </a:cubicBezTo>
                  <a:cubicBezTo>
                    <a:pt x="0" y="594"/>
                    <a:pt x="15" y="544"/>
                    <a:pt x="10" y="523"/>
                  </a:cubicBezTo>
                  <a:cubicBezTo>
                    <a:pt x="4" y="502"/>
                    <a:pt x="22" y="335"/>
                    <a:pt x="25" y="296"/>
                  </a:cubicBezTo>
                  <a:cubicBezTo>
                    <a:pt x="27" y="258"/>
                    <a:pt x="18" y="129"/>
                    <a:pt x="39" y="78"/>
                  </a:cubicBezTo>
                  <a:cubicBezTo>
                    <a:pt x="70" y="0"/>
                    <a:pt x="106" y="15"/>
                    <a:pt x="135" y="26"/>
                  </a:cubicBezTo>
                  <a:cubicBezTo>
                    <a:pt x="164" y="36"/>
                    <a:pt x="228" y="186"/>
                    <a:pt x="232" y="230"/>
                  </a:cubicBezTo>
                  <a:cubicBezTo>
                    <a:pt x="234" y="275"/>
                    <a:pt x="197" y="392"/>
                    <a:pt x="192" y="411"/>
                  </a:cubicBezTo>
                  <a:cubicBezTo>
                    <a:pt x="187" y="429"/>
                    <a:pt x="176" y="473"/>
                    <a:pt x="182" y="499"/>
                  </a:cubicBezTo>
                </a:path>
              </a:pathLst>
            </a:custGeom>
            <a:solidFill>
              <a:srgbClr val="86C5EC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3" name="ïṥľïḑè">
              <a:extLst>
                <a:ext uri="{FF2B5EF4-FFF2-40B4-BE49-F238E27FC236}">
                  <a16:creationId xmlns="" xmlns:a16="http://schemas.microsoft.com/office/drawing/2014/main" id="{CD359824-CAF7-4577-ACC4-8DA755C78289}"/>
                </a:ext>
              </a:extLst>
            </p:cNvPr>
            <p:cNvSpPr/>
            <p:nvPr/>
          </p:nvSpPr>
          <p:spPr bwMode="auto">
            <a:xfrm>
              <a:off x="825500" y="4664075"/>
              <a:ext cx="90488" cy="342900"/>
            </a:xfrm>
            <a:custGeom>
              <a:avLst/>
              <a:gdLst>
                <a:gd name="T0" fmla="*/ 229 w 251"/>
                <a:gd name="T1" fmla="*/ 901 h 952"/>
                <a:gd name="T2" fmla="*/ 240 w 251"/>
                <a:gd name="T3" fmla="*/ 903 h 952"/>
                <a:gd name="T4" fmla="*/ 205 w 251"/>
                <a:gd name="T5" fmla="*/ 706 h 952"/>
                <a:gd name="T6" fmla="*/ 178 w 251"/>
                <a:gd name="T7" fmla="*/ 488 h 952"/>
                <a:gd name="T8" fmla="*/ 189 w 251"/>
                <a:gd name="T9" fmla="*/ 397 h 952"/>
                <a:gd name="T10" fmla="*/ 192 w 251"/>
                <a:gd name="T11" fmla="*/ 389 h 952"/>
                <a:gd name="T12" fmla="*/ 229 w 251"/>
                <a:gd name="T13" fmla="*/ 217 h 952"/>
                <a:gd name="T14" fmla="*/ 134 w 251"/>
                <a:gd name="T15" fmla="*/ 16 h 952"/>
                <a:gd name="T16" fmla="*/ 131 w 251"/>
                <a:gd name="T17" fmla="*/ 16 h 952"/>
                <a:gd name="T18" fmla="*/ 98 w 251"/>
                <a:gd name="T19" fmla="*/ 8 h 952"/>
                <a:gd name="T20" fmla="*/ 41 w 251"/>
                <a:gd name="T21" fmla="*/ 67 h 952"/>
                <a:gd name="T22" fmla="*/ 28 w 251"/>
                <a:gd name="T23" fmla="*/ 232 h 952"/>
                <a:gd name="T24" fmla="*/ 28 w 251"/>
                <a:gd name="T25" fmla="*/ 283 h 952"/>
                <a:gd name="T26" fmla="*/ 22 w 251"/>
                <a:gd name="T27" fmla="*/ 339 h 952"/>
                <a:gd name="T28" fmla="*/ 12 w 251"/>
                <a:gd name="T29" fmla="*/ 510 h 952"/>
                <a:gd name="T30" fmla="*/ 12 w 251"/>
                <a:gd name="T31" fmla="*/ 545 h 952"/>
                <a:gd name="T32" fmla="*/ 16 w 251"/>
                <a:gd name="T33" fmla="*/ 615 h 952"/>
                <a:gd name="T34" fmla="*/ 123 w 251"/>
                <a:gd name="T35" fmla="*/ 920 h 952"/>
                <a:gd name="T36" fmla="*/ 126 w 251"/>
                <a:gd name="T37" fmla="*/ 941 h 952"/>
                <a:gd name="T38" fmla="*/ 229 w 251"/>
                <a:gd name="T39" fmla="*/ 901 h 952"/>
                <a:gd name="T40" fmla="*/ 213 w 251"/>
                <a:gd name="T41" fmla="*/ 706 h 952"/>
                <a:gd name="T42" fmla="*/ 250 w 251"/>
                <a:gd name="T43" fmla="*/ 909 h 952"/>
                <a:gd name="T44" fmla="*/ 248 w 251"/>
                <a:gd name="T45" fmla="*/ 913 h 952"/>
                <a:gd name="T46" fmla="*/ 244 w 251"/>
                <a:gd name="T47" fmla="*/ 913 h 952"/>
                <a:gd name="T48" fmla="*/ 228 w 251"/>
                <a:gd name="T49" fmla="*/ 909 h 952"/>
                <a:gd name="T50" fmla="*/ 126 w 251"/>
                <a:gd name="T51" fmla="*/ 950 h 952"/>
                <a:gd name="T52" fmla="*/ 124 w 251"/>
                <a:gd name="T53" fmla="*/ 951 h 952"/>
                <a:gd name="T54" fmla="*/ 123 w 251"/>
                <a:gd name="T55" fmla="*/ 950 h 952"/>
                <a:gd name="T56" fmla="*/ 121 w 251"/>
                <a:gd name="T57" fmla="*/ 947 h 952"/>
                <a:gd name="T58" fmla="*/ 115 w 251"/>
                <a:gd name="T59" fmla="*/ 921 h 952"/>
                <a:gd name="T60" fmla="*/ 9 w 251"/>
                <a:gd name="T61" fmla="*/ 617 h 952"/>
                <a:gd name="T62" fmla="*/ 3 w 251"/>
                <a:gd name="T63" fmla="*/ 545 h 952"/>
                <a:gd name="T64" fmla="*/ 5 w 251"/>
                <a:gd name="T65" fmla="*/ 513 h 952"/>
                <a:gd name="T66" fmla="*/ 15 w 251"/>
                <a:gd name="T67" fmla="*/ 338 h 952"/>
                <a:gd name="T68" fmla="*/ 20 w 251"/>
                <a:gd name="T69" fmla="*/ 282 h 952"/>
                <a:gd name="T70" fmla="*/ 20 w 251"/>
                <a:gd name="T71" fmla="*/ 233 h 952"/>
                <a:gd name="T72" fmla="*/ 34 w 251"/>
                <a:gd name="T73" fmla="*/ 64 h 952"/>
                <a:gd name="T74" fmla="*/ 98 w 251"/>
                <a:gd name="T75" fmla="*/ 0 h 952"/>
                <a:gd name="T76" fmla="*/ 134 w 251"/>
                <a:gd name="T77" fmla="*/ 8 h 952"/>
                <a:gd name="T78" fmla="*/ 136 w 251"/>
                <a:gd name="T79" fmla="*/ 9 h 952"/>
                <a:gd name="T80" fmla="*/ 237 w 251"/>
                <a:gd name="T81" fmla="*/ 217 h 952"/>
                <a:gd name="T82" fmla="*/ 199 w 251"/>
                <a:gd name="T83" fmla="*/ 392 h 952"/>
                <a:gd name="T84" fmla="*/ 197 w 251"/>
                <a:gd name="T85" fmla="*/ 400 h 952"/>
                <a:gd name="T86" fmla="*/ 186 w 251"/>
                <a:gd name="T87" fmla="*/ 487 h 952"/>
                <a:gd name="T88" fmla="*/ 213 w 251"/>
                <a:gd name="T89" fmla="*/ 706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1" h="952">
                  <a:moveTo>
                    <a:pt x="229" y="901"/>
                  </a:moveTo>
                  <a:cubicBezTo>
                    <a:pt x="233" y="901"/>
                    <a:pt x="237" y="902"/>
                    <a:pt x="240" y="903"/>
                  </a:cubicBezTo>
                  <a:cubicBezTo>
                    <a:pt x="233" y="871"/>
                    <a:pt x="207" y="751"/>
                    <a:pt x="205" y="706"/>
                  </a:cubicBezTo>
                  <a:cubicBezTo>
                    <a:pt x="203" y="651"/>
                    <a:pt x="184" y="513"/>
                    <a:pt x="178" y="488"/>
                  </a:cubicBezTo>
                  <a:cubicBezTo>
                    <a:pt x="172" y="458"/>
                    <a:pt x="186" y="407"/>
                    <a:pt x="189" y="397"/>
                  </a:cubicBezTo>
                  <a:cubicBezTo>
                    <a:pt x="190" y="395"/>
                    <a:pt x="191" y="393"/>
                    <a:pt x="192" y="389"/>
                  </a:cubicBezTo>
                  <a:cubicBezTo>
                    <a:pt x="202" y="357"/>
                    <a:pt x="231" y="257"/>
                    <a:pt x="229" y="217"/>
                  </a:cubicBezTo>
                  <a:cubicBezTo>
                    <a:pt x="226" y="173"/>
                    <a:pt x="161" y="26"/>
                    <a:pt x="134" y="16"/>
                  </a:cubicBezTo>
                  <a:lnTo>
                    <a:pt x="131" y="16"/>
                  </a:lnTo>
                  <a:cubicBezTo>
                    <a:pt x="121" y="11"/>
                    <a:pt x="110" y="8"/>
                    <a:pt x="98" y="8"/>
                  </a:cubicBezTo>
                  <a:cubicBezTo>
                    <a:pt x="84" y="8"/>
                    <a:pt x="62" y="14"/>
                    <a:pt x="41" y="67"/>
                  </a:cubicBezTo>
                  <a:cubicBezTo>
                    <a:pt x="26" y="102"/>
                    <a:pt x="27" y="178"/>
                    <a:pt x="28" y="232"/>
                  </a:cubicBezTo>
                  <a:cubicBezTo>
                    <a:pt x="28" y="254"/>
                    <a:pt x="28" y="272"/>
                    <a:pt x="28" y="283"/>
                  </a:cubicBezTo>
                  <a:cubicBezTo>
                    <a:pt x="27" y="294"/>
                    <a:pt x="24" y="315"/>
                    <a:pt x="22" y="339"/>
                  </a:cubicBezTo>
                  <a:cubicBezTo>
                    <a:pt x="16" y="402"/>
                    <a:pt x="8" y="495"/>
                    <a:pt x="12" y="510"/>
                  </a:cubicBezTo>
                  <a:cubicBezTo>
                    <a:pt x="14" y="518"/>
                    <a:pt x="13" y="531"/>
                    <a:pt x="12" y="545"/>
                  </a:cubicBezTo>
                  <a:cubicBezTo>
                    <a:pt x="9" y="567"/>
                    <a:pt x="7" y="594"/>
                    <a:pt x="16" y="615"/>
                  </a:cubicBezTo>
                  <a:cubicBezTo>
                    <a:pt x="33" y="649"/>
                    <a:pt x="119" y="900"/>
                    <a:pt x="123" y="920"/>
                  </a:cubicBezTo>
                  <a:cubicBezTo>
                    <a:pt x="124" y="930"/>
                    <a:pt x="125" y="936"/>
                    <a:pt x="126" y="941"/>
                  </a:cubicBezTo>
                  <a:cubicBezTo>
                    <a:pt x="143" y="931"/>
                    <a:pt x="196" y="901"/>
                    <a:pt x="229" y="901"/>
                  </a:cubicBezTo>
                  <a:close/>
                  <a:moveTo>
                    <a:pt x="213" y="706"/>
                  </a:moveTo>
                  <a:cubicBezTo>
                    <a:pt x="216" y="757"/>
                    <a:pt x="250" y="908"/>
                    <a:pt x="250" y="909"/>
                  </a:cubicBezTo>
                  <a:cubicBezTo>
                    <a:pt x="250" y="910"/>
                    <a:pt x="250" y="913"/>
                    <a:pt x="248" y="913"/>
                  </a:cubicBezTo>
                  <a:cubicBezTo>
                    <a:pt x="247" y="914"/>
                    <a:pt x="245" y="914"/>
                    <a:pt x="244" y="913"/>
                  </a:cubicBezTo>
                  <a:cubicBezTo>
                    <a:pt x="240" y="910"/>
                    <a:pt x="236" y="909"/>
                    <a:pt x="228" y="909"/>
                  </a:cubicBezTo>
                  <a:cubicBezTo>
                    <a:pt x="192" y="909"/>
                    <a:pt x="126" y="950"/>
                    <a:pt x="126" y="950"/>
                  </a:cubicBezTo>
                  <a:cubicBezTo>
                    <a:pt x="125" y="950"/>
                    <a:pt x="125" y="951"/>
                    <a:pt x="124" y="951"/>
                  </a:cubicBezTo>
                  <a:cubicBezTo>
                    <a:pt x="124" y="951"/>
                    <a:pt x="123" y="951"/>
                    <a:pt x="123" y="950"/>
                  </a:cubicBezTo>
                  <a:cubicBezTo>
                    <a:pt x="122" y="950"/>
                    <a:pt x="121" y="949"/>
                    <a:pt x="121" y="947"/>
                  </a:cubicBezTo>
                  <a:cubicBezTo>
                    <a:pt x="121" y="947"/>
                    <a:pt x="118" y="939"/>
                    <a:pt x="115" y="921"/>
                  </a:cubicBezTo>
                  <a:cubicBezTo>
                    <a:pt x="112" y="902"/>
                    <a:pt x="24" y="650"/>
                    <a:pt x="9" y="617"/>
                  </a:cubicBezTo>
                  <a:cubicBezTo>
                    <a:pt x="0" y="595"/>
                    <a:pt x="2" y="567"/>
                    <a:pt x="3" y="545"/>
                  </a:cubicBezTo>
                  <a:cubicBezTo>
                    <a:pt x="5" y="531"/>
                    <a:pt x="6" y="519"/>
                    <a:pt x="5" y="513"/>
                  </a:cubicBezTo>
                  <a:cubicBezTo>
                    <a:pt x="0" y="497"/>
                    <a:pt x="7" y="422"/>
                    <a:pt x="15" y="338"/>
                  </a:cubicBezTo>
                  <a:cubicBezTo>
                    <a:pt x="17" y="315"/>
                    <a:pt x="19" y="294"/>
                    <a:pt x="20" y="282"/>
                  </a:cubicBezTo>
                  <a:cubicBezTo>
                    <a:pt x="21" y="272"/>
                    <a:pt x="20" y="254"/>
                    <a:pt x="20" y="233"/>
                  </a:cubicBezTo>
                  <a:cubicBezTo>
                    <a:pt x="20" y="178"/>
                    <a:pt x="19" y="101"/>
                    <a:pt x="34" y="64"/>
                  </a:cubicBezTo>
                  <a:cubicBezTo>
                    <a:pt x="51" y="21"/>
                    <a:pt x="71" y="0"/>
                    <a:pt x="98" y="0"/>
                  </a:cubicBezTo>
                  <a:cubicBezTo>
                    <a:pt x="111" y="0"/>
                    <a:pt x="123" y="4"/>
                    <a:pt x="134" y="8"/>
                  </a:cubicBezTo>
                  <a:lnTo>
                    <a:pt x="136" y="9"/>
                  </a:lnTo>
                  <a:cubicBezTo>
                    <a:pt x="169" y="21"/>
                    <a:pt x="234" y="172"/>
                    <a:pt x="237" y="217"/>
                  </a:cubicBezTo>
                  <a:cubicBezTo>
                    <a:pt x="239" y="258"/>
                    <a:pt x="209" y="358"/>
                    <a:pt x="199" y="392"/>
                  </a:cubicBezTo>
                  <a:cubicBezTo>
                    <a:pt x="198" y="395"/>
                    <a:pt x="197" y="397"/>
                    <a:pt x="197" y="400"/>
                  </a:cubicBezTo>
                  <a:cubicBezTo>
                    <a:pt x="196" y="405"/>
                    <a:pt x="180" y="458"/>
                    <a:pt x="186" y="487"/>
                  </a:cubicBezTo>
                  <a:cubicBezTo>
                    <a:pt x="191" y="511"/>
                    <a:pt x="210" y="651"/>
                    <a:pt x="213" y="706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4" name="ï$ḻiḋê">
              <a:extLst>
                <a:ext uri="{FF2B5EF4-FFF2-40B4-BE49-F238E27FC236}">
                  <a16:creationId xmlns="" xmlns:a16="http://schemas.microsoft.com/office/drawing/2014/main" id="{4691A93E-30D7-465E-A6E0-B8729BE2D015}"/>
                </a:ext>
              </a:extLst>
            </p:cNvPr>
            <p:cNvSpPr/>
            <p:nvPr/>
          </p:nvSpPr>
          <p:spPr bwMode="auto">
            <a:xfrm>
              <a:off x="841375" y="4927600"/>
              <a:ext cx="3175" cy="1588"/>
            </a:xfrm>
            <a:custGeom>
              <a:avLst/>
              <a:gdLst>
                <a:gd name="T0" fmla="*/ 9 w 10"/>
                <a:gd name="T1" fmla="*/ 3 h 4"/>
                <a:gd name="T2" fmla="*/ 4 w 10"/>
                <a:gd name="T3" fmla="*/ 3 h 4"/>
                <a:gd name="T4" fmla="*/ 0 w 10"/>
                <a:gd name="T5" fmla="*/ 0 h 4"/>
                <a:gd name="T6" fmla="*/ 9 w 10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9" y="3"/>
                  </a:moveTo>
                  <a:cubicBezTo>
                    <a:pt x="6" y="3"/>
                    <a:pt x="5" y="3"/>
                    <a:pt x="4" y="3"/>
                  </a:cubicBezTo>
                  <a:cubicBezTo>
                    <a:pt x="3" y="2"/>
                    <a:pt x="1" y="2"/>
                    <a:pt x="0" y="0"/>
                  </a:cubicBezTo>
                  <a:lnTo>
                    <a:pt x="9" y="3"/>
                  </a:ln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5" name="îṡļîḍé">
              <a:extLst>
                <a:ext uri="{FF2B5EF4-FFF2-40B4-BE49-F238E27FC236}">
                  <a16:creationId xmlns="" xmlns:a16="http://schemas.microsoft.com/office/drawing/2014/main" id="{F9F236F4-537C-414F-BAD0-E89A8DA1EF2F}"/>
                </a:ext>
              </a:extLst>
            </p:cNvPr>
            <p:cNvSpPr/>
            <p:nvPr/>
          </p:nvSpPr>
          <p:spPr bwMode="auto">
            <a:xfrm>
              <a:off x="830263" y="4883150"/>
              <a:ext cx="107950" cy="95250"/>
            </a:xfrm>
            <a:custGeom>
              <a:avLst/>
              <a:gdLst>
                <a:gd name="T0" fmla="*/ 40 w 302"/>
                <a:gd name="T1" fmla="*/ 125 h 266"/>
                <a:gd name="T2" fmla="*/ 31 w 302"/>
                <a:gd name="T3" fmla="*/ 123 h 266"/>
                <a:gd name="T4" fmla="*/ 35 w 302"/>
                <a:gd name="T5" fmla="*/ 125 h 266"/>
                <a:gd name="T6" fmla="*/ 40 w 302"/>
                <a:gd name="T7" fmla="*/ 125 h 266"/>
                <a:gd name="T8" fmla="*/ 43 w 302"/>
                <a:gd name="T9" fmla="*/ 126 h 266"/>
                <a:gd name="T10" fmla="*/ 105 w 302"/>
                <a:gd name="T11" fmla="*/ 131 h 266"/>
                <a:gd name="T12" fmla="*/ 40 w 302"/>
                <a:gd name="T13" fmla="*/ 125 h 266"/>
                <a:gd name="T14" fmla="*/ 114 w 302"/>
                <a:gd name="T15" fmla="*/ 131 h 266"/>
                <a:gd name="T16" fmla="*/ 105 w 302"/>
                <a:gd name="T17" fmla="*/ 131 h 266"/>
                <a:gd name="T18" fmla="*/ 114 w 302"/>
                <a:gd name="T19" fmla="*/ 131 h 266"/>
                <a:gd name="T20" fmla="*/ 258 w 302"/>
                <a:gd name="T21" fmla="*/ 61 h 266"/>
                <a:gd name="T22" fmla="*/ 290 w 302"/>
                <a:gd name="T23" fmla="*/ 74 h 266"/>
                <a:gd name="T24" fmla="*/ 301 w 302"/>
                <a:gd name="T25" fmla="*/ 194 h 266"/>
                <a:gd name="T26" fmla="*/ 255 w 302"/>
                <a:gd name="T27" fmla="*/ 211 h 266"/>
                <a:gd name="T28" fmla="*/ 160 w 302"/>
                <a:gd name="T29" fmla="*/ 255 h 266"/>
                <a:gd name="T30" fmla="*/ 114 w 302"/>
                <a:gd name="T31" fmla="*/ 260 h 266"/>
                <a:gd name="T32" fmla="*/ 77 w 302"/>
                <a:gd name="T33" fmla="*/ 251 h 266"/>
                <a:gd name="T34" fmla="*/ 63 w 302"/>
                <a:gd name="T35" fmla="*/ 227 h 266"/>
                <a:gd name="T36" fmla="*/ 137 w 302"/>
                <a:gd name="T37" fmla="*/ 221 h 266"/>
                <a:gd name="T38" fmla="*/ 92 w 302"/>
                <a:gd name="T39" fmla="*/ 221 h 266"/>
                <a:gd name="T40" fmla="*/ 49 w 302"/>
                <a:gd name="T41" fmla="*/ 214 h 266"/>
                <a:gd name="T42" fmla="*/ 27 w 302"/>
                <a:gd name="T43" fmla="*/ 174 h 266"/>
                <a:gd name="T44" fmla="*/ 52 w 302"/>
                <a:gd name="T45" fmla="*/ 183 h 266"/>
                <a:gd name="T46" fmla="*/ 123 w 302"/>
                <a:gd name="T47" fmla="*/ 175 h 266"/>
                <a:gd name="T48" fmla="*/ 41 w 302"/>
                <a:gd name="T49" fmla="*/ 178 h 266"/>
                <a:gd name="T50" fmla="*/ 12 w 302"/>
                <a:gd name="T51" fmla="*/ 148 h 266"/>
                <a:gd name="T52" fmla="*/ 14 w 302"/>
                <a:gd name="T53" fmla="*/ 117 h 266"/>
                <a:gd name="T54" fmla="*/ 31 w 302"/>
                <a:gd name="T55" fmla="*/ 123 h 266"/>
                <a:gd name="T56" fmla="*/ 8 w 302"/>
                <a:gd name="T57" fmla="*/ 92 h 266"/>
                <a:gd name="T58" fmla="*/ 20 w 302"/>
                <a:gd name="T59" fmla="*/ 79 h 266"/>
                <a:gd name="T60" fmla="*/ 57 w 302"/>
                <a:gd name="T61" fmla="*/ 79 h 266"/>
                <a:gd name="T62" fmla="*/ 131 w 302"/>
                <a:gd name="T63" fmla="*/ 79 h 266"/>
                <a:gd name="T64" fmla="*/ 148 w 302"/>
                <a:gd name="T65" fmla="*/ 67 h 266"/>
                <a:gd name="T66" fmla="*/ 110 w 302"/>
                <a:gd name="T67" fmla="*/ 54 h 266"/>
                <a:gd name="T68" fmla="*/ 60 w 302"/>
                <a:gd name="T69" fmla="*/ 2 h 266"/>
                <a:gd name="T70" fmla="*/ 143 w 302"/>
                <a:gd name="T71" fmla="*/ 9 h 266"/>
                <a:gd name="T72" fmla="*/ 194 w 302"/>
                <a:gd name="T73" fmla="*/ 18 h 266"/>
                <a:gd name="T74" fmla="*/ 258 w 302"/>
                <a:gd name="T75" fmla="*/ 6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2" h="266">
                  <a:moveTo>
                    <a:pt x="40" y="125"/>
                  </a:moveTo>
                  <a:lnTo>
                    <a:pt x="31" y="123"/>
                  </a:lnTo>
                  <a:cubicBezTo>
                    <a:pt x="33" y="124"/>
                    <a:pt x="34" y="124"/>
                    <a:pt x="35" y="125"/>
                  </a:cubicBezTo>
                  <a:lnTo>
                    <a:pt x="40" y="125"/>
                  </a:lnTo>
                  <a:lnTo>
                    <a:pt x="43" y="126"/>
                  </a:lnTo>
                  <a:lnTo>
                    <a:pt x="105" y="131"/>
                  </a:lnTo>
                  <a:cubicBezTo>
                    <a:pt x="88" y="129"/>
                    <a:pt x="52" y="127"/>
                    <a:pt x="40" y="125"/>
                  </a:cubicBezTo>
                  <a:close/>
                  <a:moveTo>
                    <a:pt x="114" y="131"/>
                  </a:moveTo>
                  <a:lnTo>
                    <a:pt x="105" y="131"/>
                  </a:lnTo>
                  <a:cubicBezTo>
                    <a:pt x="111" y="131"/>
                    <a:pt x="114" y="131"/>
                    <a:pt x="114" y="131"/>
                  </a:cubicBezTo>
                  <a:close/>
                  <a:moveTo>
                    <a:pt x="258" y="61"/>
                  </a:moveTo>
                  <a:lnTo>
                    <a:pt x="290" y="74"/>
                  </a:lnTo>
                  <a:lnTo>
                    <a:pt x="301" y="194"/>
                  </a:lnTo>
                  <a:cubicBezTo>
                    <a:pt x="301" y="194"/>
                    <a:pt x="264" y="197"/>
                    <a:pt x="255" y="211"/>
                  </a:cubicBezTo>
                  <a:cubicBezTo>
                    <a:pt x="245" y="225"/>
                    <a:pt x="184" y="245"/>
                    <a:pt x="160" y="255"/>
                  </a:cubicBezTo>
                  <a:cubicBezTo>
                    <a:pt x="137" y="265"/>
                    <a:pt x="114" y="260"/>
                    <a:pt x="114" y="260"/>
                  </a:cubicBezTo>
                  <a:cubicBezTo>
                    <a:pt x="114" y="260"/>
                    <a:pt x="91" y="255"/>
                    <a:pt x="77" y="251"/>
                  </a:cubicBezTo>
                  <a:cubicBezTo>
                    <a:pt x="63" y="246"/>
                    <a:pt x="63" y="227"/>
                    <a:pt x="63" y="227"/>
                  </a:cubicBezTo>
                  <a:lnTo>
                    <a:pt x="137" y="221"/>
                  </a:lnTo>
                  <a:cubicBezTo>
                    <a:pt x="137" y="221"/>
                    <a:pt x="115" y="222"/>
                    <a:pt x="92" y="221"/>
                  </a:cubicBezTo>
                  <a:cubicBezTo>
                    <a:pt x="73" y="220"/>
                    <a:pt x="55" y="217"/>
                    <a:pt x="49" y="214"/>
                  </a:cubicBezTo>
                  <a:cubicBezTo>
                    <a:pt x="37" y="203"/>
                    <a:pt x="27" y="174"/>
                    <a:pt x="27" y="174"/>
                  </a:cubicBezTo>
                  <a:lnTo>
                    <a:pt x="52" y="183"/>
                  </a:lnTo>
                  <a:lnTo>
                    <a:pt x="123" y="175"/>
                  </a:lnTo>
                  <a:lnTo>
                    <a:pt x="41" y="178"/>
                  </a:lnTo>
                  <a:cubicBezTo>
                    <a:pt x="41" y="178"/>
                    <a:pt x="23" y="158"/>
                    <a:pt x="12" y="148"/>
                  </a:cubicBezTo>
                  <a:cubicBezTo>
                    <a:pt x="0" y="138"/>
                    <a:pt x="14" y="117"/>
                    <a:pt x="14" y="117"/>
                  </a:cubicBezTo>
                  <a:lnTo>
                    <a:pt x="31" y="123"/>
                  </a:lnTo>
                  <a:cubicBezTo>
                    <a:pt x="23" y="117"/>
                    <a:pt x="11" y="102"/>
                    <a:pt x="8" y="92"/>
                  </a:cubicBezTo>
                  <a:cubicBezTo>
                    <a:pt x="4" y="83"/>
                    <a:pt x="20" y="79"/>
                    <a:pt x="20" y="79"/>
                  </a:cubicBezTo>
                  <a:lnTo>
                    <a:pt x="57" y="79"/>
                  </a:lnTo>
                  <a:lnTo>
                    <a:pt x="131" y="79"/>
                  </a:lnTo>
                  <a:lnTo>
                    <a:pt x="148" y="67"/>
                  </a:lnTo>
                  <a:cubicBezTo>
                    <a:pt x="136" y="65"/>
                    <a:pt x="121" y="54"/>
                    <a:pt x="110" y="54"/>
                  </a:cubicBezTo>
                  <a:cubicBezTo>
                    <a:pt x="49" y="51"/>
                    <a:pt x="53" y="0"/>
                    <a:pt x="60" y="2"/>
                  </a:cubicBezTo>
                  <a:cubicBezTo>
                    <a:pt x="69" y="4"/>
                    <a:pt x="143" y="9"/>
                    <a:pt x="143" y="9"/>
                  </a:cubicBezTo>
                  <a:lnTo>
                    <a:pt x="194" y="18"/>
                  </a:lnTo>
                  <a:lnTo>
                    <a:pt x="258" y="61"/>
                  </a:lnTo>
                  <a:close/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6" name="i$ľídè">
              <a:extLst>
                <a:ext uri="{FF2B5EF4-FFF2-40B4-BE49-F238E27FC236}">
                  <a16:creationId xmlns="" xmlns:a16="http://schemas.microsoft.com/office/drawing/2014/main" id="{25DED2A9-CEE2-4212-A1E5-FD6C0C4FF9E3}"/>
                </a:ext>
              </a:extLst>
            </p:cNvPr>
            <p:cNvSpPr/>
            <p:nvPr/>
          </p:nvSpPr>
          <p:spPr bwMode="auto">
            <a:xfrm>
              <a:off x="828675" y="4883150"/>
              <a:ext cx="112713" cy="95250"/>
            </a:xfrm>
            <a:custGeom>
              <a:avLst/>
              <a:gdLst>
                <a:gd name="T0" fmla="*/ 303 w 312"/>
                <a:gd name="T1" fmla="*/ 191 h 266"/>
                <a:gd name="T2" fmla="*/ 263 w 312"/>
                <a:gd name="T3" fmla="*/ 67 h 266"/>
                <a:gd name="T4" fmla="*/ 197 w 312"/>
                <a:gd name="T5" fmla="*/ 23 h 266"/>
                <a:gd name="T6" fmla="*/ 66 w 312"/>
                <a:gd name="T7" fmla="*/ 8 h 266"/>
                <a:gd name="T8" fmla="*/ 115 w 312"/>
                <a:gd name="T9" fmla="*/ 51 h 266"/>
                <a:gd name="T10" fmla="*/ 155 w 312"/>
                <a:gd name="T11" fmla="*/ 65 h 266"/>
                <a:gd name="T12" fmla="*/ 156 w 312"/>
                <a:gd name="T13" fmla="*/ 72 h 266"/>
                <a:gd name="T14" fmla="*/ 136 w 312"/>
                <a:gd name="T15" fmla="*/ 85 h 266"/>
                <a:gd name="T16" fmla="*/ 16 w 312"/>
                <a:gd name="T17" fmla="*/ 90 h 266"/>
                <a:gd name="T18" fmla="*/ 37 w 312"/>
                <a:gd name="T19" fmla="*/ 120 h 266"/>
                <a:gd name="T20" fmla="*/ 119 w 312"/>
                <a:gd name="T21" fmla="*/ 127 h 266"/>
                <a:gd name="T22" fmla="*/ 119 w 312"/>
                <a:gd name="T23" fmla="*/ 135 h 266"/>
                <a:gd name="T24" fmla="*/ 47 w 312"/>
                <a:gd name="T25" fmla="*/ 131 h 266"/>
                <a:gd name="T26" fmla="*/ 38 w 312"/>
                <a:gd name="T27" fmla="*/ 130 h 266"/>
                <a:gd name="T28" fmla="*/ 20 w 312"/>
                <a:gd name="T29" fmla="*/ 123 h 266"/>
                <a:gd name="T30" fmla="*/ 48 w 312"/>
                <a:gd name="T31" fmla="*/ 175 h 266"/>
                <a:gd name="T32" fmla="*/ 132 w 312"/>
                <a:gd name="T33" fmla="*/ 176 h 266"/>
                <a:gd name="T34" fmla="*/ 58 w 312"/>
                <a:gd name="T35" fmla="*/ 189 h 266"/>
                <a:gd name="T36" fmla="*/ 38 w 312"/>
                <a:gd name="T37" fmla="*/ 182 h 266"/>
                <a:gd name="T38" fmla="*/ 98 w 312"/>
                <a:gd name="T39" fmla="*/ 218 h 266"/>
                <a:gd name="T40" fmla="*/ 142 w 312"/>
                <a:gd name="T41" fmla="*/ 218 h 266"/>
                <a:gd name="T42" fmla="*/ 143 w 312"/>
                <a:gd name="T43" fmla="*/ 226 h 266"/>
                <a:gd name="T44" fmla="*/ 83 w 312"/>
                <a:gd name="T45" fmla="*/ 248 h 266"/>
                <a:gd name="T46" fmla="*/ 130 w 312"/>
                <a:gd name="T47" fmla="*/ 258 h 266"/>
                <a:gd name="T48" fmla="*/ 186 w 312"/>
                <a:gd name="T49" fmla="*/ 243 h 266"/>
                <a:gd name="T50" fmla="*/ 296 w 312"/>
                <a:gd name="T51" fmla="*/ 71 h 266"/>
                <a:gd name="T52" fmla="*/ 311 w 312"/>
                <a:gd name="T53" fmla="*/ 193 h 266"/>
                <a:gd name="T54" fmla="*/ 263 w 312"/>
                <a:gd name="T55" fmla="*/ 214 h 266"/>
                <a:gd name="T56" fmla="*/ 167 w 312"/>
                <a:gd name="T57" fmla="*/ 258 h 266"/>
                <a:gd name="T58" fmla="*/ 117 w 312"/>
                <a:gd name="T59" fmla="*/ 265 h 266"/>
                <a:gd name="T60" fmla="*/ 64 w 312"/>
                <a:gd name="T61" fmla="*/ 227 h 266"/>
                <a:gd name="T62" fmla="*/ 73 w 312"/>
                <a:gd name="T63" fmla="*/ 223 h 266"/>
                <a:gd name="T64" fmla="*/ 28 w 312"/>
                <a:gd name="T65" fmla="*/ 176 h 266"/>
                <a:gd name="T66" fmla="*/ 34 w 312"/>
                <a:gd name="T67" fmla="*/ 171 h 266"/>
                <a:gd name="T68" fmla="*/ 15 w 312"/>
                <a:gd name="T69" fmla="*/ 116 h 266"/>
                <a:gd name="T70" fmla="*/ 21 w 312"/>
                <a:gd name="T71" fmla="*/ 115 h 266"/>
                <a:gd name="T72" fmla="*/ 9 w 312"/>
                <a:gd name="T73" fmla="*/ 87 h 266"/>
                <a:gd name="T74" fmla="*/ 24 w 312"/>
                <a:gd name="T75" fmla="*/ 76 h 266"/>
                <a:gd name="T76" fmla="*/ 144 w 312"/>
                <a:gd name="T77" fmla="*/ 71 h 266"/>
                <a:gd name="T78" fmla="*/ 114 w 312"/>
                <a:gd name="T79" fmla="*/ 59 h 266"/>
                <a:gd name="T80" fmla="*/ 65 w 312"/>
                <a:gd name="T81" fmla="*/ 0 h 266"/>
                <a:gd name="T82" fmla="*/ 149 w 312"/>
                <a:gd name="T83" fmla="*/ 8 h 266"/>
                <a:gd name="T84" fmla="*/ 201 w 312"/>
                <a:gd name="T85" fmla="*/ 16 h 266"/>
                <a:gd name="T86" fmla="*/ 296 w 312"/>
                <a:gd name="T87" fmla="*/ 7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2" h="266">
                  <a:moveTo>
                    <a:pt x="257" y="210"/>
                  </a:moveTo>
                  <a:cubicBezTo>
                    <a:pt x="266" y="197"/>
                    <a:pt x="293" y="192"/>
                    <a:pt x="303" y="191"/>
                  </a:cubicBezTo>
                  <a:lnTo>
                    <a:pt x="292" y="78"/>
                  </a:lnTo>
                  <a:lnTo>
                    <a:pt x="263" y="67"/>
                  </a:lnTo>
                  <a:cubicBezTo>
                    <a:pt x="263" y="66"/>
                    <a:pt x="261" y="66"/>
                    <a:pt x="261" y="66"/>
                  </a:cubicBezTo>
                  <a:lnTo>
                    <a:pt x="197" y="23"/>
                  </a:lnTo>
                  <a:lnTo>
                    <a:pt x="148" y="16"/>
                  </a:lnTo>
                  <a:cubicBezTo>
                    <a:pt x="141" y="15"/>
                    <a:pt x="78" y="10"/>
                    <a:pt x="66" y="8"/>
                  </a:cubicBezTo>
                  <a:cubicBezTo>
                    <a:pt x="65" y="10"/>
                    <a:pt x="64" y="17"/>
                    <a:pt x="67" y="27"/>
                  </a:cubicBezTo>
                  <a:cubicBezTo>
                    <a:pt x="71" y="35"/>
                    <a:pt x="83" y="50"/>
                    <a:pt x="115" y="51"/>
                  </a:cubicBezTo>
                  <a:cubicBezTo>
                    <a:pt x="121" y="51"/>
                    <a:pt x="128" y="54"/>
                    <a:pt x="135" y="58"/>
                  </a:cubicBezTo>
                  <a:cubicBezTo>
                    <a:pt x="142" y="61"/>
                    <a:pt x="148" y="64"/>
                    <a:pt x="155" y="65"/>
                  </a:cubicBezTo>
                  <a:cubicBezTo>
                    <a:pt x="156" y="65"/>
                    <a:pt x="157" y="66"/>
                    <a:pt x="158" y="68"/>
                  </a:cubicBezTo>
                  <a:cubicBezTo>
                    <a:pt x="158" y="70"/>
                    <a:pt x="157" y="72"/>
                    <a:pt x="156" y="72"/>
                  </a:cubicBezTo>
                  <a:lnTo>
                    <a:pt x="138" y="83"/>
                  </a:lnTo>
                  <a:cubicBezTo>
                    <a:pt x="138" y="85"/>
                    <a:pt x="137" y="85"/>
                    <a:pt x="136" y="85"/>
                  </a:cubicBezTo>
                  <a:lnTo>
                    <a:pt x="24" y="85"/>
                  </a:lnTo>
                  <a:cubicBezTo>
                    <a:pt x="22" y="86"/>
                    <a:pt x="17" y="87"/>
                    <a:pt x="16" y="90"/>
                  </a:cubicBezTo>
                  <a:cubicBezTo>
                    <a:pt x="15" y="90"/>
                    <a:pt x="15" y="92"/>
                    <a:pt x="16" y="93"/>
                  </a:cubicBezTo>
                  <a:cubicBezTo>
                    <a:pt x="19" y="101"/>
                    <a:pt x="30" y="115"/>
                    <a:pt x="37" y="120"/>
                  </a:cubicBezTo>
                  <a:lnTo>
                    <a:pt x="44" y="123"/>
                  </a:lnTo>
                  <a:cubicBezTo>
                    <a:pt x="62" y="124"/>
                    <a:pt x="119" y="127"/>
                    <a:pt x="119" y="127"/>
                  </a:cubicBezTo>
                  <a:cubicBezTo>
                    <a:pt x="121" y="127"/>
                    <a:pt x="122" y="130"/>
                    <a:pt x="122" y="132"/>
                  </a:cubicBezTo>
                  <a:cubicBezTo>
                    <a:pt x="122" y="134"/>
                    <a:pt x="121" y="135"/>
                    <a:pt x="119" y="135"/>
                  </a:cubicBezTo>
                  <a:lnTo>
                    <a:pt x="48" y="132"/>
                  </a:lnTo>
                  <a:cubicBezTo>
                    <a:pt x="48" y="132"/>
                    <a:pt x="47" y="132"/>
                    <a:pt x="47" y="131"/>
                  </a:cubicBezTo>
                  <a:lnTo>
                    <a:pt x="43" y="130"/>
                  </a:lnTo>
                  <a:cubicBezTo>
                    <a:pt x="41" y="130"/>
                    <a:pt x="40" y="130"/>
                    <a:pt x="38" y="130"/>
                  </a:cubicBezTo>
                  <a:cubicBezTo>
                    <a:pt x="37" y="130"/>
                    <a:pt x="36" y="129"/>
                    <a:pt x="34" y="127"/>
                  </a:cubicBezTo>
                  <a:lnTo>
                    <a:pt x="20" y="123"/>
                  </a:lnTo>
                  <a:cubicBezTo>
                    <a:pt x="17" y="129"/>
                    <a:pt x="12" y="140"/>
                    <a:pt x="19" y="146"/>
                  </a:cubicBezTo>
                  <a:cubicBezTo>
                    <a:pt x="29" y="155"/>
                    <a:pt x="43" y="170"/>
                    <a:pt x="48" y="175"/>
                  </a:cubicBezTo>
                  <a:lnTo>
                    <a:pt x="128" y="173"/>
                  </a:lnTo>
                  <a:cubicBezTo>
                    <a:pt x="130" y="173"/>
                    <a:pt x="132" y="175"/>
                    <a:pt x="132" y="176"/>
                  </a:cubicBezTo>
                  <a:cubicBezTo>
                    <a:pt x="132" y="178"/>
                    <a:pt x="131" y="181"/>
                    <a:pt x="129" y="181"/>
                  </a:cubicBezTo>
                  <a:lnTo>
                    <a:pt x="58" y="189"/>
                  </a:lnTo>
                  <a:cubicBezTo>
                    <a:pt x="57" y="189"/>
                    <a:pt x="57" y="189"/>
                    <a:pt x="56" y="188"/>
                  </a:cubicBezTo>
                  <a:lnTo>
                    <a:pt x="38" y="182"/>
                  </a:lnTo>
                  <a:cubicBezTo>
                    <a:pt x="42" y="190"/>
                    <a:pt x="49" y="205"/>
                    <a:pt x="56" y="211"/>
                  </a:cubicBezTo>
                  <a:cubicBezTo>
                    <a:pt x="58" y="212"/>
                    <a:pt x="65" y="215"/>
                    <a:pt x="98" y="218"/>
                  </a:cubicBezTo>
                  <a:cubicBezTo>
                    <a:pt x="106" y="218"/>
                    <a:pt x="116" y="218"/>
                    <a:pt x="127" y="218"/>
                  </a:cubicBezTo>
                  <a:cubicBezTo>
                    <a:pt x="136" y="218"/>
                    <a:pt x="142" y="218"/>
                    <a:pt x="142" y="218"/>
                  </a:cubicBezTo>
                  <a:cubicBezTo>
                    <a:pt x="144" y="218"/>
                    <a:pt x="146" y="219"/>
                    <a:pt x="146" y="221"/>
                  </a:cubicBezTo>
                  <a:cubicBezTo>
                    <a:pt x="146" y="224"/>
                    <a:pt x="144" y="226"/>
                    <a:pt x="143" y="226"/>
                  </a:cubicBezTo>
                  <a:lnTo>
                    <a:pt x="72" y="232"/>
                  </a:lnTo>
                  <a:cubicBezTo>
                    <a:pt x="72" y="236"/>
                    <a:pt x="74" y="245"/>
                    <a:pt x="83" y="248"/>
                  </a:cubicBezTo>
                  <a:cubicBezTo>
                    <a:pt x="95" y="251"/>
                    <a:pt x="119" y="257"/>
                    <a:pt x="120" y="257"/>
                  </a:cubicBezTo>
                  <a:cubicBezTo>
                    <a:pt x="120" y="257"/>
                    <a:pt x="124" y="258"/>
                    <a:pt x="130" y="258"/>
                  </a:cubicBezTo>
                  <a:cubicBezTo>
                    <a:pt x="138" y="258"/>
                    <a:pt x="151" y="257"/>
                    <a:pt x="164" y="251"/>
                  </a:cubicBezTo>
                  <a:cubicBezTo>
                    <a:pt x="170" y="249"/>
                    <a:pt x="178" y="247"/>
                    <a:pt x="186" y="243"/>
                  </a:cubicBezTo>
                  <a:cubicBezTo>
                    <a:pt x="211" y="234"/>
                    <a:pt x="250" y="219"/>
                    <a:pt x="257" y="210"/>
                  </a:cubicBezTo>
                  <a:close/>
                  <a:moveTo>
                    <a:pt x="296" y="71"/>
                  </a:moveTo>
                  <a:cubicBezTo>
                    <a:pt x="299" y="72"/>
                    <a:pt x="299" y="73"/>
                    <a:pt x="300" y="74"/>
                  </a:cubicBezTo>
                  <a:lnTo>
                    <a:pt x="311" y="193"/>
                  </a:lnTo>
                  <a:cubicBezTo>
                    <a:pt x="311" y="196"/>
                    <a:pt x="310" y="198"/>
                    <a:pt x="308" y="198"/>
                  </a:cubicBezTo>
                  <a:cubicBezTo>
                    <a:pt x="297" y="199"/>
                    <a:pt x="271" y="204"/>
                    <a:pt x="263" y="214"/>
                  </a:cubicBezTo>
                  <a:cubicBezTo>
                    <a:pt x="256" y="225"/>
                    <a:pt x="225" y="236"/>
                    <a:pt x="189" y="250"/>
                  </a:cubicBezTo>
                  <a:cubicBezTo>
                    <a:pt x="180" y="254"/>
                    <a:pt x="173" y="256"/>
                    <a:pt x="167" y="258"/>
                  </a:cubicBezTo>
                  <a:cubicBezTo>
                    <a:pt x="153" y="264"/>
                    <a:pt x="139" y="265"/>
                    <a:pt x="130" y="265"/>
                  </a:cubicBezTo>
                  <a:cubicBezTo>
                    <a:pt x="123" y="265"/>
                    <a:pt x="119" y="265"/>
                    <a:pt x="117" y="265"/>
                  </a:cubicBezTo>
                  <a:cubicBezTo>
                    <a:pt x="117" y="264"/>
                    <a:pt x="94" y="258"/>
                    <a:pt x="80" y="255"/>
                  </a:cubicBezTo>
                  <a:cubicBezTo>
                    <a:pt x="64" y="250"/>
                    <a:pt x="64" y="228"/>
                    <a:pt x="64" y="227"/>
                  </a:cubicBezTo>
                  <a:cubicBezTo>
                    <a:pt x="64" y="226"/>
                    <a:pt x="65" y="223"/>
                    <a:pt x="67" y="223"/>
                  </a:cubicBezTo>
                  <a:lnTo>
                    <a:pt x="73" y="223"/>
                  </a:lnTo>
                  <a:cubicBezTo>
                    <a:pt x="58" y="221"/>
                    <a:pt x="54" y="219"/>
                    <a:pt x="51" y="217"/>
                  </a:cubicBezTo>
                  <a:cubicBezTo>
                    <a:pt x="38" y="206"/>
                    <a:pt x="29" y="177"/>
                    <a:pt x="28" y="176"/>
                  </a:cubicBezTo>
                  <a:cubicBezTo>
                    <a:pt x="28" y="175"/>
                    <a:pt x="28" y="173"/>
                    <a:pt x="29" y="171"/>
                  </a:cubicBezTo>
                  <a:cubicBezTo>
                    <a:pt x="30" y="170"/>
                    <a:pt x="31" y="170"/>
                    <a:pt x="34" y="171"/>
                  </a:cubicBezTo>
                  <a:cubicBezTo>
                    <a:pt x="28" y="164"/>
                    <a:pt x="20" y="157"/>
                    <a:pt x="14" y="152"/>
                  </a:cubicBezTo>
                  <a:cubicBezTo>
                    <a:pt x="0" y="140"/>
                    <a:pt x="14" y="117"/>
                    <a:pt x="15" y="116"/>
                  </a:cubicBezTo>
                  <a:cubicBezTo>
                    <a:pt x="16" y="115"/>
                    <a:pt x="18" y="113"/>
                    <a:pt x="20" y="115"/>
                  </a:cubicBezTo>
                  <a:lnTo>
                    <a:pt x="21" y="115"/>
                  </a:lnTo>
                  <a:cubicBezTo>
                    <a:pt x="15" y="108"/>
                    <a:pt x="11" y="101"/>
                    <a:pt x="8" y="96"/>
                  </a:cubicBezTo>
                  <a:cubicBezTo>
                    <a:pt x="7" y="93"/>
                    <a:pt x="7" y="89"/>
                    <a:pt x="9" y="87"/>
                  </a:cubicBezTo>
                  <a:cubicBezTo>
                    <a:pt x="13" y="80"/>
                    <a:pt x="22" y="78"/>
                    <a:pt x="23" y="76"/>
                  </a:cubicBezTo>
                  <a:cubicBezTo>
                    <a:pt x="23" y="76"/>
                    <a:pt x="23" y="76"/>
                    <a:pt x="24" y="76"/>
                  </a:cubicBezTo>
                  <a:lnTo>
                    <a:pt x="135" y="76"/>
                  </a:lnTo>
                  <a:lnTo>
                    <a:pt x="144" y="71"/>
                  </a:lnTo>
                  <a:cubicBezTo>
                    <a:pt x="141" y="69"/>
                    <a:pt x="136" y="67"/>
                    <a:pt x="131" y="65"/>
                  </a:cubicBezTo>
                  <a:cubicBezTo>
                    <a:pt x="126" y="63"/>
                    <a:pt x="119" y="59"/>
                    <a:pt x="114" y="59"/>
                  </a:cubicBezTo>
                  <a:cubicBezTo>
                    <a:pt x="69" y="58"/>
                    <a:pt x="57" y="30"/>
                    <a:pt x="57" y="14"/>
                  </a:cubicBezTo>
                  <a:cubicBezTo>
                    <a:pt x="57" y="6"/>
                    <a:pt x="60" y="0"/>
                    <a:pt x="65" y="0"/>
                  </a:cubicBezTo>
                  <a:lnTo>
                    <a:pt x="66" y="0"/>
                  </a:lnTo>
                  <a:cubicBezTo>
                    <a:pt x="72" y="2"/>
                    <a:pt x="119" y="6"/>
                    <a:pt x="149" y="8"/>
                  </a:cubicBezTo>
                  <a:lnTo>
                    <a:pt x="200" y="16"/>
                  </a:lnTo>
                  <a:lnTo>
                    <a:pt x="201" y="16"/>
                  </a:lnTo>
                  <a:lnTo>
                    <a:pt x="266" y="59"/>
                  </a:lnTo>
                  <a:lnTo>
                    <a:pt x="296" y="71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7" name="íšḻíḑè">
              <a:extLst>
                <a:ext uri="{FF2B5EF4-FFF2-40B4-BE49-F238E27FC236}">
                  <a16:creationId xmlns="" xmlns:a16="http://schemas.microsoft.com/office/drawing/2014/main" id="{07933CBA-2CE1-4F62-84AD-7331A97A8648}"/>
                </a:ext>
              </a:extLst>
            </p:cNvPr>
            <p:cNvSpPr/>
            <p:nvPr/>
          </p:nvSpPr>
          <p:spPr bwMode="auto">
            <a:xfrm>
              <a:off x="931863" y="4695825"/>
              <a:ext cx="255587" cy="274638"/>
            </a:xfrm>
            <a:custGeom>
              <a:avLst/>
              <a:gdLst>
                <a:gd name="T0" fmla="*/ 553 w 712"/>
                <a:gd name="T1" fmla="*/ 120 h 763"/>
                <a:gd name="T2" fmla="*/ 694 w 712"/>
                <a:gd name="T3" fmla="*/ 13 h 763"/>
                <a:gd name="T4" fmla="*/ 595 w 712"/>
                <a:gd name="T5" fmla="*/ 433 h 763"/>
                <a:gd name="T6" fmla="*/ 578 w 712"/>
                <a:gd name="T7" fmla="*/ 473 h 763"/>
                <a:gd name="T8" fmla="*/ 509 w 712"/>
                <a:gd name="T9" fmla="*/ 538 h 763"/>
                <a:gd name="T10" fmla="*/ 290 w 712"/>
                <a:gd name="T11" fmla="*/ 653 h 763"/>
                <a:gd name="T12" fmla="*/ 168 w 712"/>
                <a:gd name="T13" fmla="*/ 691 h 763"/>
                <a:gd name="T14" fmla="*/ 31 w 712"/>
                <a:gd name="T15" fmla="*/ 762 h 763"/>
                <a:gd name="T16" fmla="*/ 0 w 712"/>
                <a:gd name="T17" fmla="*/ 580 h 763"/>
                <a:gd name="T18" fmla="*/ 128 w 712"/>
                <a:gd name="T19" fmla="*/ 528 h 763"/>
                <a:gd name="T20" fmla="*/ 230 w 712"/>
                <a:gd name="T21" fmla="*/ 477 h 763"/>
                <a:gd name="T22" fmla="*/ 262 w 712"/>
                <a:gd name="T23" fmla="*/ 448 h 763"/>
                <a:gd name="T24" fmla="*/ 397 w 712"/>
                <a:gd name="T25" fmla="*/ 394 h 763"/>
                <a:gd name="T26" fmla="*/ 405 w 712"/>
                <a:gd name="T27" fmla="*/ 356 h 763"/>
                <a:gd name="T28" fmla="*/ 428 w 712"/>
                <a:gd name="T29" fmla="*/ 370 h 763"/>
                <a:gd name="T30" fmla="*/ 439 w 712"/>
                <a:gd name="T31" fmla="*/ 301 h 763"/>
                <a:gd name="T32" fmla="*/ 553 w 712"/>
                <a:gd name="T33" fmla="*/ 120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763">
                  <a:moveTo>
                    <a:pt x="553" y="120"/>
                  </a:moveTo>
                  <a:cubicBezTo>
                    <a:pt x="584" y="105"/>
                    <a:pt x="692" y="0"/>
                    <a:pt x="694" y="13"/>
                  </a:cubicBezTo>
                  <a:cubicBezTo>
                    <a:pt x="711" y="99"/>
                    <a:pt x="602" y="415"/>
                    <a:pt x="595" y="433"/>
                  </a:cubicBezTo>
                  <a:cubicBezTo>
                    <a:pt x="587" y="452"/>
                    <a:pt x="578" y="473"/>
                    <a:pt x="578" y="473"/>
                  </a:cubicBezTo>
                  <a:cubicBezTo>
                    <a:pt x="569" y="496"/>
                    <a:pt x="536" y="528"/>
                    <a:pt x="509" y="538"/>
                  </a:cubicBezTo>
                  <a:cubicBezTo>
                    <a:pt x="483" y="548"/>
                    <a:pt x="334" y="628"/>
                    <a:pt x="290" y="653"/>
                  </a:cubicBezTo>
                  <a:cubicBezTo>
                    <a:pt x="245" y="680"/>
                    <a:pt x="180" y="688"/>
                    <a:pt x="168" y="691"/>
                  </a:cubicBezTo>
                  <a:cubicBezTo>
                    <a:pt x="154" y="693"/>
                    <a:pt x="31" y="762"/>
                    <a:pt x="31" y="762"/>
                  </a:cubicBezTo>
                  <a:cubicBezTo>
                    <a:pt x="10" y="727"/>
                    <a:pt x="0" y="580"/>
                    <a:pt x="0" y="580"/>
                  </a:cubicBezTo>
                  <a:cubicBezTo>
                    <a:pt x="0" y="580"/>
                    <a:pt x="99" y="536"/>
                    <a:pt x="128" y="528"/>
                  </a:cubicBezTo>
                  <a:cubicBezTo>
                    <a:pt x="157" y="519"/>
                    <a:pt x="230" y="477"/>
                    <a:pt x="230" y="477"/>
                  </a:cubicBezTo>
                  <a:cubicBezTo>
                    <a:pt x="230" y="477"/>
                    <a:pt x="251" y="465"/>
                    <a:pt x="262" y="448"/>
                  </a:cubicBezTo>
                  <a:cubicBezTo>
                    <a:pt x="272" y="433"/>
                    <a:pt x="397" y="394"/>
                    <a:pt x="397" y="394"/>
                  </a:cubicBezTo>
                  <a:cubicBezTo>
                    <a:pt x="397" y="394"/>
                    <a:pt x="399" y="373"/>
                    <a:pt x="405" y="356"/>
                  </a:cubicBezTo>
                  <a:cubicBezTo>
                    <a:pt x="410" y="341"/>
                    <a:pt x="428" y="370"/>
                    <a:pt x="428" y="370"/>
                  </a:cubicBezTo>
                  <a:cubicBezTo>
                    <a:pt x="428" y="370"/>
                    <a:pt x="428" y="341"/>
                    <a:pt x="439" y="301"/>
                  </a:cubicBezTo>
                  <a:cubicBezTo>
                    <a:pt x="449" y="262"/>
                    <a:pt x="522" y="136"/>
                    <a:pt x="553" y="120"/>
                  </a:cubicBezTo>
                </a:path>
              </a:pathLst>
            </a:custGeom>
            <a:solidFill>
              <a:srgbClr val="86C5EC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8" name="iş1íḑê">
              <a:extLst>
                <a:ext uri="{FF2B5EF4-FFF2-40B4-BE49-F238E27FC236}">
                  <a16:creationId xmlns="" xmlns:a16="http://schemas.microsoft.com/office/drawing/2014/main" id="{C67EFEE4-3142-42D8-A5FB-790B88C52172}"/>
                </a:ext>
              </a:extLst>
            </p:cNvPr>
            <p:cNvSpPr/>
            <p:nvPr/>
          </p:nvSpPr>
          <p:spPr bwMode="auto">
            <a:xfrm>
              <a:off x="930275" y="4699000"/>
              <a:ext cx="260350" cy="273050"/>
            </a:xfrm>
            <a:custGeom>
              <a:avLst/>
              <a:gdLst>
                <a:gd name="T0" fmla="*/ 597 w 722"/>
                <a:gd name="T1" fmla="*/ 423 h 758"/>
                <a:gd name="T2" fmla="*/ 696 w 722"/>
                <a:gd name="T3" fmla="*/ 8 h 758"/>
                <a:gd name="T4" fmla="*/ 635 w 722"/>
                <a:gd name="T5" fmla="*/ 57 h 758"/>
                <a:gd name="T6" fmla="*/ 561 w 722"/>
                <a:gd name="T7" fmla="*/ 115 h 758"/>
                <a:gd name="T8" fmla="*/ 447 w 722"/>
                <a:gd name="T9" fmla="*/ 294 h 758"/>
                <a:gd name="T10" fmla="*/ 436 w 722"/>
                <a:gd name="T11" fmla="*/ 362 h 758"/>
                <a:gd name="T12" fmla="*/ 434 w 722"/>
                <a:gd name="T13" fmla="*/ 365 h 758"/>
                <a:gd name="T14" fmla="*/ 429 w 722"/>
                <a:gd name="T15" fmla="*/ 363 h 758"/>
                <a:gd name="T16" fmla="*/ 414 w 722"/>
                <a:gd name="T17" fmla="*/ 348 h 758"/>
                <a:gd name="T18" fmla="*/ 413 w 722"/>
                <a:gd name="T19" fmla="*/ 349 h 758"/>
                <a:gd name="T20" fmla="*/ 405 w 722"/>
                <a:gd name="T21" fmla="*/ 385 h 758"/>
                <a:gd name="T22" fmla="*/ 403 w 722"/>
                <a:gd name="T23" fmla="*/ 389 h 758"/>
                <a:gd name="T24" fmla="*/ 269 w 722"/>
                <a:gd name="T25" fmla="*/ 442 h 758"/>
                <a:gd name="T26" fmla="*/ 235 w 722"/>
                <a:gd name="T27" fmla="*/ 473 h 758"/>
                <a:gd name="T28" fmla="*/ 133 w 722"/>
                <a:gd name="T29" fmla="*/ 523 h 758"/>
                <a:gd name="T30" fmla="*/ 8 w 722"/>
                <a:gd name="T31" fmla="*/ 574 h 758"/>
                <a:gd name="T32" fmla="*/ 37 w 722"/>
                <a:gd name="T33" fmla="*/ 747 h 758"/>
                <a:gd name="T34" fmla="*/ 170 w 722"/>
                <a:gd name="T35" fmla="*/ 679 h 758"/>
                <a:gd name="T36" fmla="*/ 179 w 722"/>
                <a:gd name="T37" fmla="*/ 676 h 758"/>
                <a:gd name="T38" fmla="*/ 292 w 722"/>
                <a:gd name="T39" fmla="*/ 641 h 758"/>
                <a:gd name="T40" fmla="*/ 513 w 722"/>
                <a:gd name="T41" fmla="*/ 526 h 758"/>
                <a:gd name="T42" fmla="*/ 578 w 722"/>
                <a:gd name="T43" fmla="*/ 463 h 758"/>
                <a:gd name="T44" fmla="*/ 579 w 722"/>
                <a:gd name="T45" fmla="*/ 462 h 758"/>
                <a:gd name="T46" fmla="*/ 597 w 722"/>
                <a:gd name="T47" fmla="*/ 423 h 758"/>
                <a:gd name="T48" fmla="*/ 699 w 722"/>
                <a:gd name="T49" fmla="*/ 0 h 758"/>
                <a:gd name="T50" fmla="*/ 705 w 722"/>
                <a:gd name="T51" fmla="*/ 3 h 758"/>
                <a:gd name="T52" fmla="*/ 605 w 722"/>
                <a:gd name="T53" fmla="*/ 426 h 758"/>
                <a:gd name="T54" fmla="*/ 586 w 722"/>
                <a:gd name="T55" fmla="*/ 466 h 758"/>
                <a:gd name="T56" fmla="*/ 515 w 722"/>
                <a:gd name="T57" fmla="*/ 533 h 758"/>
                <a:gd name="T58" fmla="*/ 296 w 722"/>
                <a:gd name="T59" fmla="*/ 648 h 758"/>
                <a:gd name="T60" fmla="*/ 180 w 722"/>
                <a:gd name="T61" fmla="*/ 684 h 758"/>
                <a:gd name="T62" fmla="*/ 172 w 722"/>
                <a:gd name="T63" fmla="*/ 686 h 758"/>
                <a:gd name="T64" fmla="*/ 37 w 722"/>
                <a:gd name="T65" fmla="*/ 757 h 758"/>
                <a:gd name="T66" fmla="*/ 35 w 722"/>
                <a:gd name="T67" fmla="*/ 757 h 758"/>
                <a:gd name="T68" fmla="*/ 31 w 722"/>
                <a:gd name="T69" fmla="*/ 756 h 758"/>
                <a:gd name="T70" fmla="*/ 0 w 722"/>
                <a:gd name="T71" fmla="*/ 572 h 758"/>
                <a:gd name="T72" fmla="*/ 2 w 722"/>
                <a:gd name="T73" fmla="*/ 568 h 758"/>
                <a:gd name="T74" fmla="*/ 131 w 722"/>
                <a:gd name="T75" fmla="*/ 516 h 758"/>
                <a:gd name="T76" fmla="*/ 232 w 722"/>
                <a:gd name="T77" fmla="*/ 466 h 758"/>
                <a:gd name="T78" fmla="*/ 262 w 722"/>
                <a:gd name="T79" fmla="*/ 439 h 758"/>
                <a:gd name="T80" fmla="*/ 398 w 722"/>
                <a:gd name="T81" fmla="*/ 382 h 758"/>
                <a:gd name="T82" fmla="*/ 406 w 722"/>
                <a:gd name="T83" fmla="*/ 347 h 758"/>
                <a:gd name="T84" fmla="*/ 414 w 722"/>
                <a:gd name="T85" fmla="*/ 340 h 758"/>
                <a:gd name="T86" fmla="*/ 429 w 722"/>
                <a:gd name="T87" fmla="*/ 350 h 758"/>
                <a:gd name="T88" fmla="*/ 440 w 722"/>
                <a:gd name="T89" fmla="*/ 292 h 758"/>
                <a:gd name="T90" fmla="*/ 557 w 722"/>
                <a:gd name="T91" fmla="*/ 108 h 758"/>
                <a:gd name="T92" fmla="*/ 630 w 722"/>
                <a:gd name="T93" fmla="*/ 51 h 758"/>
                <a:gd name="T94" fmla="*/ 699 w 722"/>
                <a:gd name="T95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22" h="758">
                  <a:moveTo>
                    <a:pt x="597" y="423"/>
                  </a:moveTo>
                  <a:cubicBezTo>
                    <a:pt x="604" y="407"/>
                    <a:pt x="710" y="98"/>
                    <a:pt x="696" y="8"/>
                  </a:cubicBezTo>
                  <a:cubicBezTo>
                    <a:pt x="687" y="12"/>
                    <a:pt x="659" y="37"/>
                    <a:pt x="635" y="57"/>
                  </a:cubicBezTo>
                  <a:cubicBezTo>
                    <a:pt x="606" y="83"/>
                    <a:pt x="576" y="108"/>
                    <a:pt x="561" y="115"/>
                  </a:cubicBezTo>
                  <a:cubicBezTo>
                    <a:pt x="532" y="130"/>
                    <a:pt x="457" y="255"/>
                    <a:pt x="447" y="294"/>
                  </a:cubicBezTo>
                  <a:cubicBezTo>
                    <a:pt x="437" y="333"/>
                    <a:pt x="436" y="361"/>
                    <a:pt x="436" y="362"/>
                  </a:cubicBezTo>
                  <a:cubicBezTo>
                    <a:pt x="436" y="363"/>
                    <a:pt x="435" y="365"/>
                    <a:pt x="434" y="365"/>
                  </a:cubicBezTo>
                  <a:cubicBezTo>
                    <a:pt x="433" y="367"/>
                    <a:pt x="431" y="365"/>
                    <a:pt x="429" y="363"/>
                  </a:cubicBezTo>
                  <a:cubicBezTo>
                    <a:pt x="425" y="356"/>
                    <a:pt x="418" y="348"/>
                    <a:pt x="414" y="348"/>
                  </a:cubicBezTo>
                  <a:cubicBezTo>
                    <a:pt x="414" y="348"/>
                    <a:pt x="413" y="348"/>
                    <a:pt x="413" y="349"/>
                  </a:cubicBezTo>
                  <a:cubicBezTo>
                    <a:pt x="408" y="364"/>
                    <a:pt x="405" y="385"/>
                    <a:pt x="405" y="385"/>
                  </a:cubicBezTo>
                  <a:cubicBezTo>
                    <a:pt x="405" y="388"/>
                    <a:pt x="404" y="389"/>
                    <a:pt x="403" y="389"/>
                  </a:cubicBezTo>
                  <a:cubicBezTo>
                    <a:pt x="355" y="404"/>
                    <a:pt x="276" y="432"/>
                    <a:pt x="269" y="442"/>
                  </a:cubicBezTo>
                  <a:cubicBezTo>
                    <a:pt x="258" y="459"/>
                    <a:pt x="237" y="471"/>
                    <a:pt x="235" y="473"/>
                  </a:cubicBezTo>
                  <a:cubicBezTo>
                    <a:pt x="233" y="475"/>
                    <a:pt x="162" y="515"/>
                    <a:pt x="133" y="523"/>
                  </a:cubicBezTo>
                  <a:cubicBezTo>
                    <a:pt x="107" y="530"/>
                    <a:pt x="23" y="567"/>
                    <a:pt x="8" y="574"/>
                  </a:cubicBezTo>
                  <a:cubicBezTo>
                    <a:pt x="9" y="594"/>
                    <a:pt x="18" y="712"/>
                    <a:pt x="37" y="747"/>
                  </a:cubicBezTo>
                  <a:cubicBezTo>
                    <a:pt x="59" y="735"/>
                    <a:pt x="158" y="681"/>
                    <a:pt x="170" y="679"/>
                  </a:cubicBezTo>
                  <a:cubicBezTo>
                    <a:pt x="172" y="678"/>
                    <a:pt x="175" y="678"/>
                    <a:pt x="179" y="676"/>
                  </a:cubicBezTo>
                  <a:cubicBezTo>
                    <a:pt x="201" y="673"/>
                    <a:pt x="254" y="665"/>
                    <a:pt x="292" y="641"/>
                  </a:cubicBezTo>
                  <a:cubicBezTo>
                    <a:pt x="335" y="616"/>
                    <a:pt x="486" y="537"/>
                    <a:pt x="513" y="526"/>
                  </a:cubicBezTo>
                  <a:cubicBezTo>
                    <a:pt x="539" y="516"/>
                    <a:pt x="571" y="484"/>
                    <a:pt x="578" y="463"/>
                  </a:cubicBezTo>
                  <a:cubicBezTo>
                    <a:pt x="579" y="462"/>
                    <a:pt x="579" y="462"/>
                    <a:pt x="579" y="462"/>
                  </a:cubicBezTo>
                  <a:cubicBezTo>
                    <a:pt x="579" y="462"/>
                    <a:pt x="590" y="441"/>
                    <a:pt x="597" y="423"/>
                  </a:cubicBezTo>
                  <a:close/>
                  <a:moveTo>
                    <a:pt x="699" y="0"/>
                  </a:moveTo>
                  <a:cubicBezTo>
                    <a:pt x="701" y="0"/>
                    <a:pt x="703" y="1"/>
                    <a:pt x="705" y="3"/>
                  </a:cubicBezTo>
                  <a:cubicBezTo>
                    <a:pt x="721" y="92"/>
                    <a:pt x="610" y="411"/>
                    <a:pt x="605" y="426"/>
                  </a:cubicBezTo>
                  <a:cubicBezTo>
                    <a:pt x="597" y="443"/>
                    <a:pt x="587" y="463"/>
                    <a:pt x="586" y="466"/>
                  </a:cubicBezTo>
                  <a:cubicBezTo>
                    <a:pt x="577" y="491"/>
                    <a:pt x="541" y="523"/>
                    <a:pt x="515" y="533"/>
                  </a:cubicBezTo>
                  <a:cubicBezTo>
                    <a:pt x="489" y="544"/>
                    <a:pt x="340" y="623"/>
                    <a:pt x="296" y="648"/>
                  </a:cubicBezTo>
                  <a:cubicBezTo>
                    <a:pt x="258" y="672"/>
                    <a:pt x="203" y="681"/>
                    <a:pt x="180" y="684"/>
                  </a:cubicBezTo>
                  <a:cubicBezTo>
                    <a:pt x="176" y="686"/>
                    <a:pt x="174" y="686"/>
                    <a:pt x="172" y="686"/>
                  </a:cubicBezTo>
                  <a:cubicBezTo>
                    <a:pt x="162" y="688"/>
                    <a:pt x="86" y="729"/>
                    <a:pt x="37" y="757"/>
                  </a:cubicBezTo>
                  <a:cubicBezTo>
                    <a:pt x="36" y="757"/>
                    <a:pt x="36" y="757"/>
                    <a:pt x="35" y="757"/>
                  </a:cubicBezTo>
                  <a:cubicBezTo>
                    <a:pt x="33" y="757"/>
                    <a:pt x="32" y="757"/>
                    <a:pt x="31" y="756"/>
                  </a:cubicBezTo>
                  <a:cubicBezTo>
                    <a:pt x="10" y="721"/>
                    <a:pt x="0" y="579"/>
                    <a:pt x="0" y="572"/>
                  </a:cubicBezTo>
                  <a:cubicBezTo>
                    <a:pt x="0" y="570"/>
                    <a:pt x="1" y="569"/>
                    <a:pt x="2" y="568"/>
                  </a:cubicBezTo>
                  <a:cubicBezTo>
                    <a:pt x="6" y="567"/>
                    <a:pt x="102" y="524"/>
                    <a:pt x="131" y="516"/>
                  </a:cubicBezTo>
                  <a:cubicBezTo>
                    <a:pt x="159" y="508"/>
                    <a:pt x="231" y="467"/>
                    <a:pt x="232" y="466"/>
                  </a:cubicBezTo>
                  <a:cubicBezTo>
                    <a:pt x="232" y="466"/>
                    <a:pt x="252" y="453"/>
                    <a:pt x="262" y="439"/>
                  </a:cubicBezTo>
                  <a:cubicBezTo>
                    <a:pt x="273" y="423"/>
                    <a:pt x="377" y="389"/>
                    <a:pt x="398" y="382"/>
                  </a:cubicBezTo>
                  <a:cubicBezTo>
                    <a:pt x="399" y="376"/>
                    <a:pt x="402" y="360"/>
                    <a:pt x="406" y="347"/>
                  </a:cubicBezTo>
                  <a:cubicBezTo>
                    <a:pt x="407" y="341"/>
                    <a:pt x="412" y="340"/>
                    <a:pt x="414" y="340"/>
                  </a:cubicBezTo>
                  <a:cubicBezTo>
                    <a:pt x="420" y="340"/>
                    <a:pt x="425" y="346"/>
                    <a:pt x="429" y="350"/>
                  </a:cubicBezTo>
                  <a:cubicBezTo>
                    <a:pt x="431" y="339"/>
                    <a:pt x="433" y="318"/>
                    <a:pt x="440" y="292"/>
                  </a:cubicBezTo>
                  <a:cubicBezTo>
                    <a:pt x="450" y="255"/>
                    <a:pt x="523" y="126"/>
                    <a:pt x="557" y="108"/>
                  </a:cubicBezTo>
                  <a:cubicBezTo>
                    <a:pt x="571" y="101"/>
                    <a:pt x="602" y="74"/>
                    <a:pt x="630" y="51"/>
                  </a:cubicBezTo>
                  <a:cubicBezTo>
                    <a:pt x="672" y="15"/>
                    <a:pt x="691" y="0"/>
                    <a:pt x="699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9" name="íṧļïḓé">
              <a:extLst>
                <a:ext uri="{FF2B5EF4-FFF2-40B4-BE49-F238E27FC236}">
                  <a16:creationId xmlns="" xmlns:a16="http://schemas.microsoft.com/office/drawing/2014/main" id="{8A473B56-9624-4839-8BD6-0BC9611EC016}"/>
                </a:ext>
              </a:extLst>
            </p:cNvPr>
            <p:cNvSpPr/>
            <p:nvPr/>
          </p:nvSpPr>
          <p:spPr bwMode="auto">
            <a:xfrm>
              <a:off x="1057275" y="4770438"/>
              <a:ext cx="33338" cy="26987"/>
            </a:xfrm>
            <a:custGeom>
              <a:avLst/>
              <a:gdLst>
                <a:gd name="T0" fmla="*/ 0 w 92"/>
                <a:gd name="T1" fmla="*/ 37 h 76"/>
                <a:gd name="T2" fmla="*/ 89 w 92"/>
                <a:gd name="T3" fmla="*/ 0 h 76"/>
                <a:gd name="T4" fmla="*/ 81 w 92"/>
                <a:gd name="T5" fmla="*/ 64 h 76"/>
                <a:gd name="T6" fmla="*/ 0 w 92"/>
                <a:gd name="T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76">
                  <a:moveTo>
                    <a:pt x="0" y="37"/>
                  </a:moveTo>
                  <a:cubicBezTo>
                    <a:pt x="4" y="7"/>
                    <a:pt x="89" y="0"/>
                    <a:pt x="89" y="0"/>
                  </a:cubicBezTo>
                  <a:cubicBezTo>
                    <a:pt x="89" y="0"/>
                    <a:pt x="91" y="54"/>
                    <a:pt x="81" y="64"/>
                  </a:cubicBezTo>
                  <a:cubicBezTo>
                    <a:pt x="70" y="75"/>
                    <a:pt x="0" y="37"/>
                    <a:pt x="0" y="37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0" name="iSḷiḋe">
              <a:extLst>
                <a:ext uri="{FF2B5EF4-FFF2-40B4-BE49-F238E27FC236}">
                  <a16:creationId xmlns="" xmlns:a16="http://schemas.microsoft.com/office/drawing/2014/main" id="{7A69DA91-17AC-448A-A4A8-E0364CB74E61}"/>
                </a:ext>
              </a:extLst>
            </p:cNvPr>
            <p:cNvSpPr/>
            <p:nvPr/>
          </p:nvSpPr>
          <p:spPr bwMode="auto">
            <a:xfrm>
              <a:off x="1057275" y="4768850"/>
              <a:ext cx="34925" cy="26988"/>
            </a:xfrm>
            <a:custGeom>
              <a:avLst/>
              <a:gdLst>
                <a:gd name="T0" fmla="*/ 80 w 97"/>
                <a:gd name="T1" fmla="*/ 66 h 76"/>
                <a:gd name="T2" fmla="*/ 87 w 97"/>
                <a:gd name="T3" fmla="*/ 8 h 76"/>
                <a:gd name="T4" fmla="*/ 8 w 97"/>
                <a:gd name="T5" fmla="*/ 39 h 76"/>
                <a:gd name="T6" fmla="*/ 77 w 97"/>
                <a:gd name="T7" fmla="*/ 67 h 76"/>
                <a:gd name="T8" fmla="*/ 80 w 97"/>
                <a:gd name="T9" fmla="*/ 66 h 76"/>
                <a:gd name="T10" fmla="*/ 93 w 97"/>
                <a:gd name="T11" fmla="*/ 1 h 76"/>
                <a:gd name="T12" fmla="*/ 94 w 97"/>
                <a:gd name="T13" fmla="*/ 3 h 76"/>
                <a:gd name="T14" fmla="*/ 85 w 97"/>
                <a:gd name="T15" fmla="*/ 72 h 76"/>
                <a:gd name="T16" fmla="*/ 77 w 97"/>
                <a:gd name="T17" fmla="*/ 75 h 76"/>
                <a:gd name="T18" fmla="*/ 3 w 97"/>
                <a:gd name="T19" fmla="*/ 45 h 76"/>
                <a:gd name="T20" fmla="*/ 0 w 97"/>
                <a:gd name="T21" fmla="*/ 42 h 76"/>
                <a:gd name="T22" fmla="*/ 91 w 97"/>
                <a:gd name="T23" fmla="*/ 0 h 76"/>
                <a:gd name="T24" fmla="*/ 93 w 97"/>
                <a:gd name="T25" fmla="*/ 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76">
                  <a:moveTo>
                    <a:pt x="80" y="66"/>
                  </a:moveTo>
                  <a:cubicBezTo>
                    <a:pt x="86" y="60"/>
                    <a:pt x="87" y="28"/>
                    <a:pt x="87" y="8"/>
                  </a:cubicBezTo>
                  <a:cubicBezTo>
                    <a:pt x="57" y="11"/>
                    <a:pt x="14" y="22"/>
                    <a:pt x="8" y="39"/>
                  </a:cubicBezTo>
                  <a:cubicBezTo>
                    <a:pt x="25" y="49"/>
                    <a:pt x="62" y="67"/>
                    <a:pt x="77" y="67"/>
                  </a:cubicBezTo>
                  <a:cubicBezTo>
                    <a:pt x="79" y="67"/>
                    <a:pt x="80" y="66"/>
                    <a:pt x="80" y="66"/>
                  </a:cubicBezTo>
                  <a:close/>
                  <a:moveTo>
                    <a:pt x="93" y="1"/>
                  </a:moveTo>
                  <a:cubicBezTo>
                    <a:pt x="94" y="2"/>
                    <a:pt x="94" y="2"/>
                    <a:pt x="94" y="3"/>
                  </a:cubicBezTo>
                  <a:cubicBezTo>
                    <a:pt x="95" y="13"/>
                    <a:pt x="96" y="61"/>
                    <a:pt x="85" y="72"/>
                  </a:cubicBezTo>
                  <a:cubicBezTo>
                    <a:pt x="84" y="74"/>
                    <a:pt x="80" y="75"/>
                    <a:pt x="77" y="75"/>
                  </a:cubicBezTo>
                  <a:cubicBezTo>
                    <a:pt x="56" y="75"/>
                    <a:pt x="5" y="46"/>
                    <a:pt x="3" y="45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4" y="9"/>
                    <a:pt x="81" y="1"/>
                    <a:pt x="91" y="0"/>
                  </a:cubicBezTo>
                  <a:cubicBezTo>
                    <a:pt x="91" y="0"/>
                    <a:pt x="92" y="0"/>
                    <a:pt x="93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1" name="ísļíḍê">
              <a:extLst>
                <a:ext uri="{FF2B5EF4-FFF2-40B4-BE49-F238E27FC236}">
                  <a16:creationId xmlns="" xmlns:a16="http://schemas.microsoft.com/office/drawing/2014/main" id="{C0006C3D-3BC0-43C0-8C28-13F85C2317EB}"/>
                </a:ext>
              </a:extLst>
            </p:cNvPr>
            <p:cNvSpPr/>
            <p:nvPr/>
          </p:nvSpPr>
          <p:spPr bwMode="auto">
            <a:xfrm>
              <a:off x="950913" y="4591050"/>
              <a:ext cx="180975" cy="214313"/>
            </a:xfrm>
            <a:custGeom>
              <a:avLst/>
              <a:gdLst>
                <a:gd name="T0" fmla="*/ 118 w 502"/>
                <a:gd name="T1" fmla="*/ 100 h 594"/>
                <a:gd name="T2" fmla="*/ 482 w 502"/>
                <a:gd name="T3" fmla="*/ 281 h 594"/>
                <a:gd name="T4" fmla="*/ 478 w 502"/>
                <a:gd name="T5" fmla="*/ 438 h 594"/>
                <a:gd name="T6" fmla="*/ 196 w 502"/>
                <a:gd name="T7" fmla="*/ 535 h 594"/>
                <a:gd name="T8" fmla="*/ 87 w 502"/>
                <a:gd name="T9" fmla="*/ 472 h 594"/>
                <a:gd name="T10" fmla="*/ 118 w 502"/>
                <a:gd name="T11" fmla="*/ 100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2" h="594">
                  <a:moveTo>
                    <a:pt x="118" y="100"/>
                  </a:moveTo>
                  <a:cubicBezTo>
                    <a:pt x="204" y="79"/>
                    <a:pt x="366" y="0"/>
                    <a:pt x="482" y="281"/>
                  </a:cubicBezTo>
                  <a:cubicBezTo>
                    <a:pt x="496" y="313"/>
                    <a:pt x="501" y="401"/>
                    <a:pt x="478" y="438"/>
                  </a:cubicBezTo>
                  <a:cubicBezTo>
                    <a:pt x="455" y="475"/>
                    <a:pt x="316" y="593"/>
                    <a:pt x="196" y="535"/>
                  </a:cubicBezTo>
                  <a:cubicBezTo>
                    <a:pt x="159" y="517"/>
                    <a:pt x="87" y="472"/>
                    <a:pt x="87" y="472"/>
                  </a:cubicBezTo>
                  <a:cubicBezTo>
                    <a:pt x="0" y="415"/>
                    <a:pt x="31" y="121"/>
                    <a:pt x="118" y="100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2" name="íṩľiḑé">
              <a:extLst>
                <a:ext uri="{FF2B5EF4-FFF2-40B4-BE49-F238E27FC236}">
                  <a16:creationId xmlns="" xmlns:a16="http://schemas.microsoft.com/office/drawing/2014/main" id="{7A731941-218F-4B81-97AE-7CD8CF62739F}"/>
                </a:ext>
              </a:extLst>
            </p:cNvPr>
            <p:cNvSpPr/>
            <p:nvPr/>
          </p:nvSpPr>
          <p:spPr bwMode="auto">
            <a:xfrm>
              <a:off x="958850" y="4614863"/>
              <a:ext cx="174625" cy="174625"/>
            </a:xfrm>
            <a:custGeom>
              <a:avLst/>
              <a:gdLst>
                <a:gd name="T0" fmla="*/ 455 w 486"/>
                <a:gd name="T1" fmla="*/ 367 h 487"/>
                <a:gd name="T2" fmla="*/ 459 w 486"/>
                <a:gd name="T3" fmla="*/ 213 h 487"/>
                <a:gd name="T4" fmla="*/ 229 w 486"/>
                <a:gd name="T5" fmla="*/ 9 h 487"/>
                <a:gd name="T6" fmla="*/ 123 w 486"/>
                <a:gd name="T7" fmla="*/ 27 h 487"/>
                <a:gd name="T8" fmla="*/ 96 w 486"/>
                <a:gd name="T9" fmla="*/ 34 h 487"/>
                <a:gd name="T10" fmla="*/ 24 w 486"/>
                <a:gd name="T11" fmla="*/ 167 h 487"/>
                <a:gd name="T12" fmla="*/ 66 w 486"/>
                <a:gd name="T13" fmla="*/ 400 h 487"/>
                <a:gd name="T14" fmla="*/ 177 w 486"/>
                <a:gd name="T15" fmla="*/ 463 h 487"/>
                <a:gd name="T16" fmla="*/ 245 w 486"/>
                <a:gd name="T17" fmla="*/ 478 h 487"/>
                <a:gd name="T18" fmla="*/ 455 w 486"/>
                <a:gd name="T19" fmla="*/ 367 h 487"/>
                <a:gd name="T20" fmla="*/ 229 w 486"/>
                <a:gd name="T21" fmla="*/ 0 h 487"/>
                <a:gd name="T22" fmla="*/ 466 w 486"/>
                <a:gd name="T23" fmla="*/ 210 h 487"/>
                <a:gd name="T24" fmla="*/ 462 w 486"/>
                <a:gd name="T25" fmla="*/ 372 h 487"/>
                <a:gd name="T26" fmla="*/ 245 w 486"/>
                <a:gd name="T27" fmla="*/ 486 h 487"/>
                <a:gd name="T28" fmla="*/ 173 w 486"/>
                <a:gd name="T29" fmla="*/ 469 h 487"/>
                <a:gd name="T30" fmla="*/ 62 w 486"/>
                <a:gd name="T31" fmla="*/ 407 h 487"/>
                <a:gd name="T32" fmla="*/ 16 w 486"/>
                <a:gd name="T33" fmla="*/ 166 h 487"/>
                <a:gd name="T34" fmla="*/ 95 w 486"/>
                <a:gd name="T35" fmla="*/ 27 h 487"/>
                <a:gd name="T36" fmla="*/ 121 w 486"/>
                <a:gd name="T37" fmla="*/ 20 h 487"/>
                <a:gd name="T38" fmla="*/ 229 w 486"/>
                <a:gd name="T39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6" h="487">
                  <a:moveTo>
                    <a:pt x="455" y="367"/>
                  </a:moveTo>
                  <a:cubicBezTo>
                    <a:pt x="477" y="332"/>
                    <a:pt x="473" y="247"/>
                    <a:pt x="459" y="213"/>
                  </a:cubicBezTo>
                  <a:cubicBezTo>
                    <a:pt x="401" y="75"/>
                    <a:pt x="327" y="9"/>
                    <a:pt x="229" y="9"/>
                  </a:cubicBezTo>
                  <a:cubicBezTo>
                    <a:pt x="190" y="9"/>
                    <a:pt x="153" y="19"/>
                    <a:pt x="123" y="27"/>
                  </a:cubicBezTo>
                  <a:cubicBezTo>
                    <a:pt x="114" y="30"/>
                    <a:pt x="104" y="33"/>
                    <a:pt x="96" y="34"/>
                  </a:cubicBezTo>
                  <a:cubicBezTo>
                    <a:pt x="65" y="42"/>
                    <a:pt x="37" y="92"/>
                    <a:pt x="24" y="167"/>
                  </a:cubicBezTo>
                  <a:cubicBezTo>
                    <a:pt x="8" y="255"/>
                    <a:pt x="18" y="368"/>
                    <a:pt x="66" y="400"/>
                  </a:cubicBezTo>
                  <a:cubicBezTo>
                    <a:pt x="67" y="401"/>
                    <a:pt x="139" y="445"/>
                    <a:pt x="177" y="463"/>
                  </a:cubicBezTo>
                  <a:cubicBezTo>
                    <a:pt x="197" y="473"/>
                    <a:pt x="221" y="478"/>
                    <a:pt x="245" y="478"/>
                  </a:cubicBezTo>
                  <a:cubicBezTo>
                    <a:pt x="341" y="479"/>
                    <a:pt x="435" y="397"/>
                    <a:pt x="455" y="367"/>
                  </a:cubicBezTo>
                  <a:close/>
                  <a:moveTo>
                    <a:pt x="229" y="0"/>
                  </a:moveTo>
                  <a:cubicBezTo>
                    <a:pt x="330" y="0"/>
                    <a:pt x="407" y="69"/>
                    <a:pt x="466" y="210"/>
                  </a:cubicBezTo>
                  <a:cubicBezTo>
                    <a:pt x="481" y="245"/>
                    <a:pt x="485" y="334"/>
                    <a:pt x="462" y="372"/>
                  </a:cubicBezTo>
                  <a:cubicBezTo>
                    <a:pt x="441" y="404"/>
                    <a:pt x="345" y="486"/>
                    <a:pt x="245" y="486"/>
                  </a:cubicBezTo>
                  <a:cubicBezTo>
                    <a:pt x="220" y="486"/>
                    <a:pt x="195" y="481"/>
                    <a:pt x="173" y="469"/>
                  </a:cubicBezTo>
                  <a:cubicBezTo>
                    <a:pt x="135" y="452"/>
                    <a:pt x="62" y="408"/>
                    <a:pt x="62" y="407"/>
                  </a:cubicBezTo>
                  <a:cubicBezTo>
                    <a:pt x="10" y="372"/>
                    <a:pt x="0" y="259"/>
                    <a:pt x="16" y="166"/>
                  </a:cubicBezTo>
                  <a:cubicBezTo>
                    <a:pt x="30" y="88"/>
                    <a:pt x="59" y="35"/>
                    <a:pt x="95" y="27"/>
                  </a:cubicBezTo>
                  <a:cubicBezTo>
                    <a:pt x="103" y="25"/>
                    <a:pt x="111" y="23"/>
                    <a:pt x="121" y="20"/>
                  </a:cubicBezTo>
                  <a:cubicBezTo>
                    <a:pt x="151" y="11"/>
                    <a:pt x="189" y="0"/>
                    <a:pt x="229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3" name="îṥļíďe">
              <a:extLst>
                <a:ext uri="{FF2B5EF4-FFF2-40B4-BE49-F238E27FC236}">
                  <a16:creationId xmlns="" xmlns:a16="http://schemas.microsoft.com/office/drawing/2014/main" id="{3473293A-6620-4D65-8BE7-CB2BAA871B60}"/>
                </a:ext>
              </a:extLst>
            </p:cNvPr>
            <p:cNvSpPr/>
            <p:nvPr/>
          </p:nvSpPr>
          <p:spPr bwMode="auto">
            <a:xfrm>
              <a:off x="938213" y="4602163"/>
              <a:ext cx="138112" cy="187325"/>
            </a:xfrm>
            <a:custGeom>
              <a:avLst/>
              <a:gdLst>
                <a:gd name="T0" fmla="*/ 209 w 384"/>
                <a:gd name="T1" fmla="*/ 8 h 522"/>
                <a:gd name="T2" fmla="*/ 322 w 384"/>
                <a:gd name="T3" fmla="*/ 427 h 522"/>
                <a:gd name="T4" fmla="*/ 246 w 384"/>
                <a:gd name="T5" fmla="*/ 513 h 522"/>
                <a:gd name="T6" fmla="*/ 44 w 384"/>
                <a:gd name="T7" fmla="*/ 419 h 522"/>
                <a:gd name="T8" fmla="*/ 29 w 384"/>
                <a:gd name="T9" fmla="*/ 235 h 522"/>
                <a:gd name="T10" fmla="*/ 209 w 384"/>
                <a:gd name="T11" fmla="*/ 8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" h="522">
                  <a:moveTo>
                    <a:pt x="209" y="8"/>
                  </a:moveTo>
                  <a:cubicBezTo>
                    <a:pt x="278" y="0"/>
                    <a:pt x="383" y="386"/>
                    <a:pt x="322" y="427"/>
                  </a:cubicBezTo>
                  <a:cubicBezTo>
                    <a:pt x="267" y="464"/>
                    <a:pt x="278" y="506"/>
                    <a:pt x="246" y="513"/>
                  </a:cubicBezTo>
                  <a:cubicBezTo>
                    <a:pt x="215" y="521"/>
                    <a:pt x="65" y="448"/>
                    <a:pt x="44" y="419"/>
                  </a:cubicBezTo>
                  <a:cubicBezTo>
                    <a:pt x="23" y="390"/>
                    <a:pt x="0" y="320"/>
                    <a:pt x="29" y="235"/>
                  </a:cubicBezTo>
                  <a:cubicBezTo>
                    <a:pt x="57" y="152"/>
                    <a:pt x="142" y="16"/>
                    <a:pt x="209" y="8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4" name="îṡḻîḍé">
              <a:extLst>
                <a:ext uri="{FF2B5EF4-FFF2-40B4-BE49-F238E27FC236}">
                  <a16:creationId xmlns="" xmlns:a16="http://schemas.microsoft.com/office/drawing/2014/main" id="{E4F0C50E-75ED-4832-905D-5C61C1CC69CD}"/>
                </a:ext>
              </a:extLst>
            </p:cNvPr>
            <p:cNvSpPr/>
            <p:nvPr/>
          </p:nvSpPr>
          <p:spPr bwMode="auto">
            <a:xfrm>
              <a:off x="936625" y="4602163"/>
              <a:ext cx="133350" cy="185737"/>
            </a:xfrm>
            <a:custGeom>
              <a:avLst/>
              <a:gdLst>
                <a:gd name="T0" fmla="*/ 324 w 369"/>
                <a:gd name="T1" fmla="*/ 422 h 517"/>
                <a:gd name="T2" fmla="*/ 307 w 369"/>
                <a:gd name="T3" fmla="*/ 173 h 517"/>
                <a:gd name="T4" fmla="*/ 216 w 369"/>
                <a:gd name="T5" fmla="*/ 11 h 517"/>
                <a:gd name="T6" fmla="*/ 215 w 369"/>
                <a:gd name="T7" fmla="*/ 11 h 517"/>
                <a:gd name="T8" fmla="*/ 38 w 369"/>
                <a:gd name="T9" fmla="*/ 236 h 517"/>
                <a:gd name="T10" fmla="*/ 53 w 369"/>
                <a:gd name="T11" fmla="*/ 415 h 517"/>
                <a:gd name="T12" fmla="*/ 245 w 369"/>
                <a:gd name="T13" fmla="*/ 509 h 517"/>
                <a:gd name="T14" fmla="*/ 250 w 369"/>
                <a:gd name="T15" fmla="*/ 508 h 517"/>
                <a:gd name="T16" fmla="*/ 274 w 369"/>
                <a:gd name="T17" fmla="*/ 481 h 517"/>
                <a:gd name="T18" fmla="*/ 324 w 369"/>
                <a:gd name="T19" fmla="*/ 422 h 517"/>
                <a:gd name="T20" fmla="*/ 214 w 369"/>
                <a:gd name="T21" fmla="*/ 4 h 517"/>
                <a:gd name="T22" fmla="*/ 315 w 369"/>
                <a:gd name="T23" fmla="*/ 171 h 517"/>
                <a:gd name="T24" fmla="*/ 328 w 369"/>
                <a:gd name="T25" fmla="*/ 429 h 517"/>
                <a:gd name="T26" fmla="*/ 281 w 369"/>
                <a:gd name="T27" fmla="*/ 484 h 517"/>
                <a:gd name="T28" fmla="*/ 252 w 369"/>
                <a:gd name="T29" fmla="*/ 516 h 517"/>
                <a:gd name="T30" fmla="*/ 245 w 369"/>
                <a:gd name="T31" fmla="*/ 516 h 517"/>
                <a:gd name="T32" fmla="*/ 46 w 369"/>
                <a:gd name="T33" fmla="*/ 420 h 517"/>
                <a:gd name="T34" fmla="*/ 30 w 369"/>
                <a:gd name="T35" fmla="*/ 233 h 517"/>
                <a:gd name="T36" fmla="*/ 214 w 369"/>
                <a:gd name="T37" fmla="*/ 4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9" h="517">
                  <a:moveTo>
                    <a:pt x="324" y="422"/>
                  </a:moveTo>
                  <a:cubicBezTo>
                    <a:pt x="355" y="402"/>
                    <a:pt x="339" y="280"/>
                    <a:pt x="307" y="173"/>
                  </a:cubicBezTo>
                  <a:cubicBezTo>
                    <a:pt x="278" y="76"/>
                    <a:pt x="242" y="11"/>
                    <a:pt x="216" y="11"/>
                  </a:cubicBezTo>
                  <a:lnTo>
                    <a:pt x="215" y="11"/>
                  </a:lnTo>
                  <a:cubicBezTo>
                    <a:pt x="152" y="19"/>
                    <a:pt x="67" y="150"/>
                    <a:pt x="38" y="236"/>
                  </a:cubicBezTo>
                  <a:cubicBezTo>
                    <a:pt x="8" y="321"/>
                    <a:pt x="35" y="391"/>
                    <a:pt x="53" y="415"/>
                  </a:cubicBezTo>
                  <a:cubicBezTo>
                    <a:pt x="72" y="440"/>
                    <a:pt x="205" y="509"/>
                    <a:pt x="245" y="509"/>
                  </a:cubicBezTo>
                  <a:cubicBezTo>
                    <a:pt x="248" y="509"/>
                    <a:pt x="249" y="508"/>
                    <a:pt x="250" y="508"/>
                  </a:cubicBezTo>
                  <a:cubicBezTo>
                    <a:pt x="263" y="504"/>
                    <a:pt x="267" y="495"/>
                    <a:pt x="274" y="481"/>
                  </a:cubicBezTo>
                  <a:cubicBezTo>
                    <a:pt x="283" y="464"/>
                    <a:pt x="294" y="443"/>
                    <a:pt x="324" y="422"/>
                  </a:cubicBezTo>
                  <a:close/>
                  <a:moveTo>
                    <a:pt x="214" y="4"/>
                  </a:moveTo>
                  <a:cubicBezTo>
                    <a:pt x="250" y="0"/>
                    <a:pt x="289" y="88"/>
                    <a:pt x="315" y="171"/>
                  </a:cubicBezTo>
                  <a:cubicBezTo>
                    <a:pt x="341" y="260"/>
                    <a:pt x="368" y="402"/>
                    <a:pt x="328" y="429"/>
                  </a:cubicBezTo>
                  <a:cubicBezTo>
                    <a:pt x="300" y="447"/>
                    <a:pt x="290" y="468"/>
                    <a:pt x="281" y="484"/>
                  </a:cubicBezTo>
                  <a:cubicBezTo>
                    <a:pt x="274" y="498"/>
                    <a:pt x="268" y="511"/>
                    <a:pt x="252" y="516"/>
                  </a:cubicBezTo>
                  <a:cubicBezTo>
                    <a:pt x="250" y="516"/>
                    <a:pt x="248" y="516"/>
                    <a:pt x="245" y="516"/>
                  </a:cubicBezTo>
                  <a:cubicBezTo>
                    <a:pt x="202" y="516"/>
                    <a:pt x="66" y="447"/>
                    <a:pt x="46" y="420"/>
                  </a:cubicBezTo>
                  <a:cubicBezTo>
                    <a:pt x="28" y="394"/>
                    <a:pt x="0" y="321"/>
                    <a:pt x="30" y="233"/>
                  </a:cubicBezTo>
                  <a:cubicBezTo>
                    <a:pt x="58" y="156"/>
                    <a:pt x="141" y="12"/>
                    <a:pt x="214" y="4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5" name="i$ľïḋe">
              <a:extLst>
                <a:ext uri="{FF2B5EF4-FFF2-40B4-BE49-F238E27FC236}">
                  <a16:creationId xmlns="" xmlns:a16="http://schemas.microsoft.com/office/drawing/2014/main" id="{FFB2379D-7A18-4D25-9859-A9A03F92D5BA}"/>
                </a:ext>
              </a:extLst>
            </p:cNvPr>
            <p:cNvSpPr/>
            <p:nvPr/>
          </p:nvSpPr>
          <p:spPr bwMode="auto">
            <a:xfrm>
              <a:off x="1009650" y="4600575"/>
              <a:ext cx="136525" cy="163513"/>
            </a:xfrm>
            <a:custGeom>
              <a:avLst/>
              <a:gdLst>
                <a:gd name="T0" fmla="*/ 235 w 379"/>
                <a:gd name="T1" fmla="*/ 68 h 456"/>
                <a:gd name="T2" fmla="*/ 370 w 379"/>
                <a:gd name="T3" fmla="*/ 313 h 456"/>
                <a:gd name="T4" fmla="*/ 300 w 379"/>
                <a:gd name="T5" fmla="*/ 447 h 456"/>
                <a:gd name="T6" fmla="*/ 174 w 379"/>
                <a:gd name="T7" fmla="*/ 418 h 456"/>
                <a:gd name="T8" fmla="*/ 16 w 379"/>
                <a:gd name="T9" fmla="*/ 24 h 456"/>
                <a:gd name="T10" fmla="*/ 235 w 379"/>
                <a:gd name="T11" fmla="*/ 6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9" h="456">
                  <a:moveTo>
                    <a:pt x="235" y="68"/>
                  </a:moveTo>
                  <a:cubicBezTo>
                    <a:pt x="282" y="87"/>
                    <a:pt x="363" y="260"/>
                    <a:pt x="370" y="313"/>
                  </a:cubicBezTo>
                  <a:cubicBezTo>
                    <a:pt x="378" y="365"/>
                    <a:pt x="336" y="439"/>
                    <a:pt x="300" y="447"/>
                  </a:cubicBezTo>
                  <a:cubicBezTo>
                    <a:pt x="263" y="455"/>
                    <a:pt x="274" y="420"/>
                    <a:pt x="174" y="418"/>
                  </a:cubicBezTo>
                  <a:cubicBezTo>
                    <a:pt x="110" y="417"/>
                    <a:pt x="0" y="47"/>
                    <a:pt x="16" y="24"/>
                  </a:cubicBezTo>
                  <a:cubicBezTo>
                    <a:pt x="31" y="0"/>
                    <a:pt x="188" y="49"/>
                    <a:pt x="235" y="68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6" name="î$ļîďè">
              <a:extLst>
                <a:ext uri="{FF2B5EF4-FFF2-40B4-BE49-F238E27FC236}">
                  <a16:creationId xmlns="" xmlns:a16="http://schemas.microsoft.com/office/drawing/2014/main" id="{0D7F1E42-F534-41AF-B579-E52637D97C89}"/>
                </a:ext>
              </a:extLst>
            </p:cNvPr>
            <p:cNvSpPr/>
            <p:nvPr/>
          </p:nvSpPr>
          <p:spPr bwMode="auto">
            <a:xfrm>
              <a:off x="1009650" y="4603750"/>
              <a:ext cx="138113" cy="157163"/>
            </a:xfrm>
            <a:custGeom>
              <a:avLst/>
              <a:gdLst>
                <a:gd name="T0" fmla="*/ 301 w 384"/>
                <a:gd name="T1" fmla="*/ 426 h 435"/>
                <a:gd name="T2" fmla="*/ 368 w 384"/>
                <a:gd name="T3" fmla="*/ 296 h 435"/>
                <a:gd name="T4" fmla="*/ 235 w 384"/>
                <a:gd name="T5" fmla="*/ 57 h 435"/>
                <a:gd name="T6" fmla="*/ 38 w 384"/>
                <a:gd name="T7" fmla="*/ 8 h 435"/>
                <a:gd name="T8" fmla="*/ 20 w 384"/>
                <a:gd name="T9" fmla="*/ 12 h 435"/>
                <a:gd name="T10" fmla="*/ 120 w 384"/>
                <a:gd name="T11" fmla="*/ 330 h 435"/>
                <a:gd name="T12" fmla="*/ 176 w 384"/>
                <a:gd name="T13" fmla="*/ 397 h 435"/>
                <a:gd name="T14" fmla="*/ 271 w 384"/>
                <a:gd name="T15" fmla="*/ 419 h 435"/>
                <a:gd name="T16" fmla="*/ 292 w 384"/>
                <a:gd name="T17" fmla="*/ 427 h 435"/>
                <a:gd name="T18" fmla="*/ 301 w 384"/>
                <a:gd name="T19" fmla="*/ 426 h 435"/>
                <a:gd name="T20" fmla="*/ 237 w 384"/>
                <a:gd name="T21" fmla="*/ 50 h 435"/>
                <a:gd name="T22" fmla="*/ 376 w 384"/>
                <a:gd name="T23" fmla="*/ 295 h 435"/>
                <a:gd name="T24" fmla="*/ 302 w 384"/>
                <a:gd name="T25" fmla="*/ 433 h 435"/>
                <a:gd name="T26" fmla="*/ 292 w 384"/>
                <a:gd name="T27" fmla="*/ 434 h 435"/>
                <a:gd name="T28" fmla="*/ 266 w 384"/>
                <a:gd name="T29" fmla="*/ 426 h 435"/>
                <a:gd name="T30" fmla="*/ 176 w 384"/>
                <a:gd name="T31" fmla="*/ 405 h 435"/>
                <a:gd name="T32" fmla="*/ 113 w 384"/>
                <a:gd name="T33" fmla="*/ 335 h 435"/>
                <a:gd name="T34" fmla="*/ 14 w 384"/>
                <a:gd name="T35" fmla="*/ 8 h 435"/>
                <a:gd name="T36" fmla="*/ 38 w 384"/>
                <a:gd name="T37" fmla="*/ 0 h 435"/>
                <a:gd name="T38" fmla="*/ 237 w 384"/>
                <a:gd name="T39" fmla="*/ 5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4" h="435">
                  <a:moveTo>
                    <a:pt x="301" y="426"/>
                  </a:moveTo>
                  <a:cubicBezTo>
                    <a:pt x="334" y="419"/>
                    <a:pt x="376" y="348"/>
                    <a:pt x="368" y="296"/>
                  </a:cubicBezTo>
                  <a:cubicBezTo>
                    <a:pt x="360" y="243"/>
                    <a:pt x="280" y="75"/>
                    <a:pt x="235" y="57"/>
                  </a:cubicBezTo>
                  <a:cubicBezTo>
                    <a:pt x="197" y="44"/>
                    <a:pt x="86" y="8"/>
                    <a:pt x="38" y="8"/>
                  </a:cubicBezTo>
                  <a:cubicBezTo>
                    <a:pt x="24" y="8"/>
                    <a:pt x="21" y="11"/>
                    <a:pt x="20" y="12"/>
                  </a:cubicBezTo>
                  <a:cubicBezTo>
                    <a:pt x="10" y="26"/>
                    <a:pt x="62" y="219"/>
                    <a:pt x="120" y="330"/>
                  </a:cubicBezTo>
                  <a:cubicBezTo>
                    <a:pt x="142" y="373"/>
                    <a:pt x="162" y="396"/>
                    <a:pt x="176" y="397"/>
                  </a:cubicBezTo>
                  <a:cubicBezTo>
                    <a:pt x="235" y="398"/>
                    <a:pt x="256" y="411"/>
                    <a:pt x="271" y="419"/>
                  </a:cubicBezTo>
                  <a:cubicBezTo>
                    <a:pt x="279" y="423"/>
                    <a:pt x="283" y="427"/>
                    <a:pt x="292" y="427"/>
                  </a:cubicBezTo>
                  <a:cubicBezTo>
                    <a:pt x="294" y="427"/>
                    <a:pt x="297" y="426"/>
                    <a:pt x="301" y="426"/>
                  </a:cubicBezTo>
                  <a:close/>
                  <a:moveTo>
                    <a:pt x="237" y="50"/>
                  </a:moveTo>
                  <a:cubicBezTo>
                    <a:pt x="288" y="70"/>
                    <a:pt x="368" y="247"/>
                    <a:pt x="376" y="295"/>
                  </a:cubicBezTo>
                  <a:cubicBezTo>
                    <a:pt x="383" y="347"/>
                    <a:pt x="342" y="425"/>
                    <a:pt x="302" y="433"/>
                  </a:cubicBezTo>
                  <a:cubicBezTo>
                    <a:pt x="299" y="434"/>
                    <a:pt x="295" y="434"/>
                    <a:pt x="292" y="434"/>
                  </a:cubicBezTo>
                  <a:cubicBezTo>
                    <a:pt x="281" y="434"/>
                    <a:pt x="275" y="430"/>
                    <a:pt x="266" y="426"/>
                  </a:cubicBezTo>
                  <a:cubicBezTo>
                    <a:pt x="252" y="418"/>
                    <a:pt x="233" y="406"/>
                    <a:pt x="176" y="405"/>
                  </a:cubicBezTo>
                  <a:cubicBezTo>
                    <a:pt x="159" y="404"/>
                    <a:pt x="138" y="381"/>
                    <a:pt x="113" y="335"/>
                  </a:cubicBezTo>
                  <a:cubicBezTo>
                    <a:pt x="59" y="229"/>
                    <a:pt x="0" y="27"/>
                    <a:pt x="14" y="8"/>
                  </a:cubicBezTo>
                  <a:cubicBezTo>
                    <a:pt x="17" y="2"/>
                    <a:pt x="25" y="0"/>
                    <a:pt x="38" y="0"/>
                  </a:cubicBezTo>
                  <a:cubicBezTo>
                    <a:pt x="87" y="0"/>
                    <a:pt x="199" y="35"/>
                    <a:pt x="237" y="5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7" name="ïŝļíde">
              <a:extLst>
                <a:ext uri="{FF2B5EF4-FFF2-40B4-BE49-F238E27FC236}">
                  <a16:creationId xmlns="" xmlns:a16="http://schemas.microsoft.com/office/drawing/2014/main" id="{F5F68470-E340-435A-A32E-E932F3BF1C2D}"/>
                </a:ext>
              </a:extLst>
            </p:cNvPr>
            <p:cNvSpPr/>
            <p:nvPr/>
          </p:nvSpPr>
          <p:spPr bwMode="auto">
            <a:xfrm>
              <a:off x="919163" y="5068888"/>
              <a:ext cx="90487" cy="77787"/>
            </a:xfrm>
            <a:custGeom>
              <a:avLst/>
              <a:gdLst>
                <a:gd name="T0" fmla="*/ 228 w 251"/>
                <a:gd name="T1" fmla="*/ 183 h 215"/>
                <a:gd name="T2" fmla="*/ 219 w 251"/>
                <a:gd name="T3" fmla="*/ 204 h 215"/>
                <a:gd name="T4" fmla="*/ 1 w 251"/>
                <a:gd name="T5" fmla="*/ 22 h 215"/>
                <a:gd name="T6" fmla="*/ 18 w 251"/>
                <a:gd name="T7" fmla="*/ 3 h 215"/>
                <a:gd name="T8" fmla="*/ 228 w 251"/>
                <a:gd name="T9" fmla="*/ 18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215">
                  <a:moveTo>
                    <a:pt x="228" y="183"/>
                  </a:moveTo>
                  <a:cubicBezTo>
                    <a:pt x="250" y="198"/>
                    <a:pt x="238" y="214"/>
                    <a:pt x="219" y="204"/>
                  </a:cubicBezTo>
                  <a:cubicBezTo>
                    <a:pt x="219" y="204"/>
                    <a:pt x="4" y="32"/>
                    <a:pt x="1" y="22"/>
                  </a:cubicBezTo>
                  <a:cubicBezTo>
                    <a:pt x="0" y="12"/>
                    <a:pt x="4" y="0"/>
                    <a:pt x="18" y="3"/>
                  </a:cubicBezTo>
                  <a:cubicBezTo>
                    <a:pt x="32" y="5"/>
                    <a:pt x="175" y="144"/>
                    <a:pt x="228" y="18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8" name="íślïḍè">
              <a:extLst>
                <a:ext uri="{FF2B5EF4-FFF2-40B4-BE49-F238E27FC236}">
                  <a16:creationId xmlns="" xmlns:a16="http://schemas.microsoft.com/office/drawing/2014/main" id="{07F186C0-DCD1-441F-ABF1-2B3311A2C4E4}"/>
                </a:ext>
              </a:extLst>
            </p:cNvPr>
            <p:cNvSpPr/>
            <p:nvPr/>
          </p:nvSpPr>
          <p:spPr bwMode="auto">
            <a:xfrm>
              <a:off x="917575" y="5067300"/>
              <a:ext cx="88900" cy="76200"/>
            </a:xfrm>
            <a:custGeom>
              <a:avLst/>
              <a:gdLst>
                <a:gd name="T0" fmla="*/ 235 w 246"/>
                <a:gd name="T1" fmla="*/ 199 h 210"/>
                <a:gd name="T2" fmla="*/ 225 w 246"/>
                <a:gd name="T3" fmla="*/ 185 h 210"/>
                <a:gd name="T4" fmla="*/ 111 w 246"/>
                <a:gd name="T5" fmla="*/ 86 h 210"/>
                <a:gd name="T6" fmla="*/ 20 w 246"/>
                <a:gd name="T7" fmla="*/ 8 h 210"/>
                <a:gd name="T8" fmla="*/ 17 w 246"/>
                <a:gd name="T9" fmla="*/ 8 h 210"/>
                <a:gd name="T10" fmla="*/ 10 w 246"/>
                <a:gd name="T11" fmla="*/ 12 h 210"/>
                <a:gd name="T12" fmla="*/ 9 w 246"/>
                <a:gd name="T13" fmla="*/ 23 h 210"/>
                <a:gd name="T14" fmla="*/ 222 w 246"/>
                <a:gd name="T15" fmla="*/ 200 h 210"/>
                <a:gd name="T16" fmla="*/ 230 w 246"/>
                <a:gd name="T17" fmla="*/ 202 h 210"/>
                <a:gd name="T18" fmla="*/ 235 w 246"/>
                <a:gd name="T19" fmla="*/ 199 h 210"/>
                <a:gd name="T20" fmla="*/ 230 w 246"/>
                <a:gd name="T21" fmla="*/ 178 h 210"/>
                <a:gd name="T22" fmla="*/ 242 w 246"/>
                <a:gd name="T23" fmla="*/ 201 h 210"/>
                <a:gd name="T24" fmla="*/ 230 w 246"/>
                <a:gd name="T25" fmla="*/ 209 h 210"/>
                <a:gd name="T26" fmla="*/ 218 w 246"/>
                <a:gd name="T27" fmla="*/ 206 h 210"/>
                <a:gd name="T28" fmla="*/ 217 w 246"/>
                <a:gd name="T29" fmla="*/ 206 h 210"/>
                <a:gd name="T30" fmla="*/ 1 w 246"/>
                <a:gd name="T31" fmla="*/ 24 h 210"/>
                <a:gd name="T32" fmla="*/ 5 w 246"/>
                <a:gd name="T33" fmla="*/ 6 h 210"/>
                <a:gd name="T34" fmla="*/ 21 w 246"/>
                <a:gd name="T35" fmla="*/ 1 h 210"/>
                <a:gd name="T36" fmla="*/ 116 w 246"/>
                <a:gd name="T37" fmla="*/ 80 h 210"/>
                <a:gd name="T38" fmla="*/ 230 w 246"/>
                <a:gd name="T39" fmla="*/ 17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6" h="210">
                  <a:moveTo>
                    <a:pt x="235" y="199"/>
                  </a:moveTo>
                  <a:cubicBezTo>
                    <a:pt x="237" y="196"/>
                    <a:pt x="233" y="191"/>
                    <a:pt x="225" y="185"/>
                  </a:cubicBezTo>
                  <a:cubicBezTo>
                    <a:pt x="200" y="167"/>
                    <a:pt x="155" y="125"/>
                    <a:pt x="111" y="86"/>
                  </a:cubicBezTo>
                  <a:cubicBezTo>
                    <a:pt x="71" y="51"/>
                    <a:pt x="26" y="10"/>
                    <a:pt x="20" y="8"/>
                  </a:cubicBezTo>
                  <a:cubicBezTo>
                    <a:pt x="20" y="8"/>
                    <a:pt x="18" y="8"/>
                    <a:pt x="17" y="8"/>
                  </a:cubicBezTo>
                  <a:cubicBezTo>
                    <a:pt x="15" y="8"/>
                    <a:pt x="13" y="9"/>
                    <a:pt x="10" y="12"/>
                  </a:cubicBezTo>
                  <a:cubicBezTo>
                    <a:pt x="8" y="14"/>
                    <a:pt x="8" y="19"/>
                    <a:pt x="9" y="23"/>
                  </a:cubicBezTo>
                  <a:cubicBezTo>
                    <a:pt x="16" y="33"/>
                    <a:pt x="140" y="134"/>
                    <a:pt x="222" y="200"/>
                  </a:cubicBezTo>
                  <a:cubicBezTo>
                    <a:pt x="225" y="201"/>
                    <a:pt x="228" y="202"/>
                    <a:pt x="230" y="202"/>
                  </a:cubicBezTo>
                  <a:cubicBezTo>
                    <a:pt x="231" y="202"/>
                    <a:pt x="234" y="201"/>
                    <a:pt x="235" y="199"/>
                  </a:cubicBezTo>
                  <a:close/>
                  <a:moveTo>
                    <a:pt x="230" y="178"/>
                  </a:moveTo>
                  <a:cubicBezTo>
                    <a:pt x="240" y="186"/>
                    <a:pt x="245" y="194"/>
                    <a:pt x="242" y="201"/>
                  </a:cubicBezTo>
                  <a:cubicBezTo>
                    <a:pt x="241" y="207"/>
                    <a:pt x="237" y="209"/>
                    <a:pt x="230" y="209"/>
                  </a:cubicBezTo>
                  <a:cubicBezTo>
                    <a:pt x="226" y="209"/>
                    <a:pt x="222" y="208"/>
                    <a:pt x="218" y="206"/>
                  </a:cubicBezTo>
                  <a:lnTo>
                    <a:pt x="217" y="206"/>
                  </a:lnTo>
                  <a:cubicBezTo>
                    <a:pt x="153" y="155"/>
                    <a:pt x="3" y="35"/>
                    <a:pt x="1" y="24"/>
                  </a:cubicBezTo>
                  <a:cubicBezTo>
                    <a:pt x="0" y="17"/>
                    <a:pt x="1" y="10"/>
                    <a:pt x="5" y="6"/>
                  </a:cubicBezTo>
                  <a:cubicBezTo>
                    <a:pt x="8" y="1"/>
                    <a:pt x="14" y="0"/>
                    <a:pt x="21" y="1"/>
                  </a:cubicBezTo>
                  <a:cubicBezTo>
                    <a:pt x="29" y="1"/>
                    <a:pt x="54" y="24"/>
                    <a:pt x="116" y="80"/>
                  </a:cubicBezTo>
                  <a:cubicBezTo>
                    <a:pt x="158" y="118"/>
                    <a:pt x="205" y="160"/>
                    <a:pt x="230" y="178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39" name="iŝ1íḍê">
              <a:extLst>
                <a:ext uri="{FF2B5EF4-FFF2-40B4-BE49-F238E27FC236}">
                  <a16:creationId xmlns="" xmlns:a16="http://schemas.microsoft.com/office/drawing/2014/main" id="{8FEF6BB5-7B85-4265-99AC-0BA25C0064B7}"/>
                </a:ext>
              </a:extLst>
            </p:cNvPr>
            <p:cNvSpPr/>
            <p:nvPr/>
          </p:nvSpPr>
          <p:spPr bwMode="auto">
            <a:xfrm>
              <a:off x="898525" y="5070475"/>
              <a:ext cx="69850" cy="47625"/>
            </a:xfrm>
            <a:custGeom>
              <a:avLst/>
              <a:gdLst>
                <a:gd name="T0" fmla="*/ 102 w 194"/>
                <a:gd name="T1" fmla="*/ 81 h 133"/>
                <a:gd name="T2" fmla="*/ 171 w 194"/>
                <a:gd name="T3" fmla="*/ 102 h 133"/>
                <a:gd name="T4" fmla="*/ 178 w 194"/>
                <a:gd name="T5" fmla="*/ 130 h 133"/>
                <a:gd name="T6" fmla="*/ 63 w 194"/>
                <a:gd name="T7" fmla="*/ 113 h 133"/>
                <a:gd name="T8" fmla="*/ 0 w 194"/>
                <a:gd name="T9" fmla="*/ 30 h 133"/>
                <a:gd name="T10" fmla="*/ 46 w 194"/>
                <a:gd name="T11" fmla="*/ 0 h 133"/>
                <a:gd name="T12" fmla="*/ 77 w 194"/>
                <a:gd name="T13" fmla="*/ 56 h 133"/>
                <a:gd name="T14" fmla="*/ 102 w 194"/>
                <a:gd name="T15" fmla="*/ 8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133">
                  <a:moveTo>
                    <a:pt x="102" y="81"/>
                  </a:moveTo>
                  <a:cubicBezTo>
                    <a:pt x="119" y="85"/>
                    <a:pt x="171" y="102"/>
                    <a:pt x="171" y="102"/>
                  </a:cubicBezTo>
                  <a:cubicBezTo>
                    <a:pt x="171" y="102"/>
                    <a:pt x="193" y="132"/>
                    <a:pt x="178" y="130"/>
                  </a:cubicBezTo>
                  <a:cubicBezTo>
                    <a:pt x="162" y="128"/>
                    <a:pt x="77" y="120"/>
                    <a:pt x="63" y="113"/>
                  </a:cubicBezTo>
                  <a:cubicBezTo>
                    <a:pt x="51" y="105"/>
                    <a:pt x="0" y="30"/>
                    <a:pt x="0" y="30"/>
                  </a:cubicBezTo>
                  <a:lnTo>
                    <a:pt x="46" y="0"/>
                  </a:lnTo>
                  <a:cubicBezTo>
                    <a:pt x="69" y="14"/>
                    <a:pt x="77" y="56"/>
                    <a:pt x="77" y="56"/>
                  </a:cubicBezTo>
                  <a:cubicBezTo>
                    <a:pt x="89" y="63"/>
                    <a:pt x="102" y="81"/>
                    <a:pt x="102" y="81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0" name="íŝḷïḋe">
              <a:extLst>
                <a:ext uri="{FF2B5EF4-FFF2-40B4-BE49-F238E27FC236}">
                  <a16:creationId xmlns="" xmlns:a16="http://schemas.microsoft.com/office/drawing/2014/main" id="{67E083AC-3189-4070-81B7-1B66AC484586}"/>
                </a:ext>
              </a:extLst>
            </p:cNvPr>
            <p:cNvSpPr/>
            <p:nvPr/>
          </p:nvSpPr>
          <p:spPr bwMode="auto">
            <a:xfrm>
              <a:off x="896938" y="5068888"/>
              <a:ext cx="71437" cy="49212"/>
            </a:xfrm>
            <a:custGeom>
              <a:avLst/>
              <a:gdLst>
                <a:gd name="T0" fmla="*/ 179 w 199"/>
                <a:gd name="T1" fmla="*/ 103 h 138"/>
                <a:gd name="T2" fmla="*/ 182 w 199"/>
                <a:gd name="T3" fmla="*/ 104 h 138"/>
                <a:gd name="T4" fmla="*/ 193 w 199"/>
                <a:gd name="T5" fmla="*/ 134 h 138"/>
                <a:gd name="T6" fmla="*/ 186 w 199"/>
                <a:gd name="T7" fmla="*/ 137 h 138"/>
                <a:gd name="T8" fmla="*/ 184 w 199"/>
                <a:gd name="T9" fmla="*/ 137 h 138"/>
                <a:gd name="T10" fmla="*/ 171 w 199"/>
                <a:gd name="T11" fmla="*/ 136 h 138"/>
                <a:gd name="T12" fmla="*/ 68 w 199"/>
                <a:gd name="T13" fmla="*/ 120 h 138"/>
                <a:gd name="T14" fmla="*/ 1 w 199"/>
                <a:gd name="T15" fmla="*/ 37 h 138"/>
                <a:gd name="T16" fmla="*/ 2 w 199"/>
                <a:gd name="T17" fmla="*/ 31 h 138"/>
                <a:gd name="T18" fmla="*/ 7 w 199"/>
                <a:gd name="T19" fmla="*/ 33 h 138"/>
                <a:gd name="T20" fmla="*/ 71 w 199"/>
                <a:gd name="T21" fmla="*/ 113 h 138"/>
                <a:gd name="T22" fmla="*/ 172 w 199"/>
                <a:gd name="T23" fmla="*/ 128 h 138"/>
                <a:gd name="T24" fmla="*/ 185 w 199"/>
                <a:gd name="T25" fmla="*/ 130 h 138"/>
                <a:gd name="T26" fmla="*/ 186 w 199"/>
                <a:gd name="T27" fmla="*/ 130 h 138"/>
                <a:gd name="T28" fmla="*/ 176 w 199"/>
                <a:gd name="T29" fmla="*/ 110 h 138"/>
                <a:gd name="T30" fmla="*/ 107 w 199"/>
                <a:gd name="T31" fmla="*/ 89 h 138"/>
                <a:gd name="T32" fmla="*/ 104 w 199"/>
                <a:gd name="T33" fmla="*/ 87 h 138"/>
                <a:gd name="T34" fmla="*/ 81 w 199"/>
                <a:gd name="T35" fmla="*/ 62 h 138"/>
                <a:gd name="T36" fmla="*/ 80 w 199"/>
                <a:gd name="T37" fmla="*/ 60 h 138"/>
                <a:gd name="T38" fmla="*/ 49 w 199"/>
                <a:gd name="T39" fmla="*/ 8 h 138"/>
                <a:gd name="T40" fmla="*/ 48 w 199"/>
                <a:gd name="T41" fmla="*/ 4 h 138"/>
                <a:gd name="T42" fmla="*/ 54 w 199"/>
                <a:gd name="T43" fmla="*/ 1 h 138"/>
                <a:gd name="T44" fmla="*/ 87 w 199"/>
                <a:gd name="T45" fmla="*/ 58 h 138"/>
                <a:gd name="T46" fmla="*/ 110 w 199"/>
                <a:gd name="T47" fmla="*/ 82 h 138"/>
                <a:gd name="T48" fmla="*/ 179 w 199"/>
                <a:gd name="T49" fmla="*/ 10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9" h="138">
                  <a:moveTo>
                    <a:pt x="179" y="103"/>
                  </a:moveTo>
                  <a:cubicBezTo>
                    <a:pt x="181" y="103"/>
                    <a:pt x="182" y="104"/>
                    <a:pt x="182" y="104"/>
                  </a:cubicBezTo>
                  <a:cubicBezTo>
                    <a:pt x="186" y="111"/>
                    <a:pt x="198" y="127"/>
                    <a:pt x="193" y="134"/>
                  </a:cubicBezTo>
                  <a:cubicBezTo>
                    <a:pt x="192" y="136"/>
                    <a:pt x="190" y="137"/>
                    <a:pt x="186" y="137"/>
                  </a:cubicBezTo>
                  <a:cubicBezTo>
                    <a:pt x="185" y="137"/>
                    <a:pt x="185" y="137"/>
                    <a:pt x="184" y="137"/>
                  </a:cubicBezTo>
                  <a:cubicBezTo>
                    <a:pt x="182" y="137"/>
                    <a:pt x="177" y="137"/>
                    <a:pt x="171" y="136"/>
                  </a:cubicBezTo>
                  <a:cubicBezTo>
                    <a:pt x="123" y="132"/>
                    <a:pt x="78" y="126"/>
                    <a:pt x="68" y="120"/>
                  </a:cubicBezTo>
                  <a:cubicBezTo>
                    <a:pt x="54" y="112"/>
                    <a:pt x="5" y="44"/>
                    <a:pt x="1" y="37"/>
                  </a:cubicBezTo>
                  <a:cubicBezTo>
                    <a:pt x="0" y="35"/>
                    <a:pt x="0" y="33"/>
                    <a:pt x="2" y="31"/>
                  </a:cubicBezTo>
                  <a:cubicBezTo>
                    <a:pt x="3" y="30"/>
                    <a:pt x="5" y="30"/>
                    <a:pt x="7" y="33"/>
                  </a:cubicBezTo>
                  <a:cubicBezTo>
                    <a:pt x="28" y="61"/>
                    <a:pt x="62" y="107"/>
                    <a:pt x="71" y="113"/>
                  </a:cubicBezTo>
                  <a:cubicBezTo>
                    <a:pt x="82" y="119"/>
                    <a:pt x="145" y="126"/>
                    <a:pt x="172" y="128"/>
                  </a:cubicBezTo>
                  <a:cubicBezTo>
                    <a:pt x="178" y="129"/>
                    <a:pt x="183" y="129"/>
                    <a:pt x="185" y="130"/>
                  </a:cubicBezTo>
                  <a:lnTo>
                    <a:pt x="186" y="130"/>
                  </a:lnTo>
                  <a:cubicBezTo>
                    <a:pt x="186" y="127"/>
                    <a:pt x="182" y="118"/>
                    <a:pt x="176" y="110"/>
                  </a:cubicBezTo>
                  <a:cubicBezTo>
                    <a:pt x="168" y="107"/>
                    <a:pt x="122" y="92"/>
                    <a:pt x="107" y="89"/>
                  </a:cubicBezTo>
                  <a:cubicBezTo>
                    <a:pt x="105" y="89"/>
                    <a:pt x="104" y="88"/>
                    <a:pt x="104" y="87"/>
                  </a:cubicBezTo>
                  <a:cubicBezTo>
                    <a:pt x="104" y="87"/>
                    <a:pt x="92" y="71"/>
                    <a:pt x="81" y="62"/>
                  </a:cubicBezTo>
                  <a:cubicBezTo>
                    <a:pt x="81" y="62"/>
                    <a:pt x="80" y="61"/>
                    <a:pt x="80" y="60"/>
                  </a:cubicBezTo>
                  <a:cubicBezTo>
                    <a:pt x="80" y="60"/>
                    <a:pt x="71" y="21"/>
                    <a:pt x="49" y="8"/>
                  </a:cubicBezTo>
                  <a:cubicBezTo>
                    <a:pt x="48" y="7"/>
                    <a:pt x="47" y="5"/>
                    <a:pt x="48" y="4"/>
                  </a:cubicBezTo>
                  <a:cubicBezTo>
                    <a:pt x="49" y="1"/>
                    <a:pt x="51" y="0"/>
                    <a:pt x="54" y="1"/>
                  </a:cubicBezTo>
                  <a:cubicBezTo>
                    <a:pt x="76" y="15"/>
                    <a:pt x="85" y="50"/>
                    <a:pt x="87" y="58"/>
                  </a:cubicBezTo>
                  <a:cubicBezTo>
                    <a:pt x="97" y="65"/>
                    <a:pt x="107" y="77"/>
                    <a:pt x="110" y="82"/>
                  </a:cubicBezTo>
                  <a:cubicBezTo>
                    <a:pt x="129" y="86"/>
                    <a:pt x="178" y="102"/>
                    <a:pt x="179" y="10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1" name="íṡlíḍè">
              <a:extLst>
                <a:ext uri="{FF2B5EF4-FFF2-40B4-BE49-F238E27FC236}">
                  <a16:creationId xmlns="" xmlns:a16="http://schemas.microsoft.com/office/drawing/2014/main" id="{8446F2D2-B072-43C0-9A88-A09692B0F820}"/>
                </a:ext>
              </a:extLst>
            </p:cNvPr>
            <p:cNvSpPr/>
            <p:nvPr/>
          </p:nvSpPr>
          <p:spPr bwMode="auto">
            <a:xfrm>
              <a:off x="922338" y="5043488"/>
              <a:ext cx="46037" cy="53975"/>
            </a:xfrm>
            <a:custGeom>
              <a:avLst/>
              <a:gdLst>
                <a:gd name="T0" fmla="*/ 65 w 128"/>
                <a:gd name="T1" fmla="*/ 66 h 148"/>
                <a:gd name="T2" fmla="*/ 113 w 128"/>
                <a:gd name="T3" fmla="*/ 107 h 148"/>
                <a:gd name="T4" fmla="*/ 93 w 128"/>
                <a:gd name="T5" fmla="*/ 139 h 148"/>
                <a:gd name="T6" fmla="*/ 0 w 128"/>
                <a:gd name="T7" fmla="*/ 60 h 148"/>
                <a:gd name="T8" fmla="*/ 14 w 128"/>
                <a:gd name="T9" fmla="*/ 0 h 148"/>
                <a:gd name="T10" fmla="*/ 65 w 128"/>
                <a:gd name="T11" fmla="*/ 6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48">
                  <a:moveTo>
                    <a:pt x="65" y="66"/>
                  </a:moveTo>
                  <a:cubicBezTo>
                    <a:pt x="90" y="85"/>
                    <a:pt x="99" y="96"/>
                    <a:pt x="113" y="107"/>
                  </a:cubicBezTo>
                  <a:cubicBezTo>
                    <a:pt x="127" y="120"/>
                    <a:pt x="116" y="147"/>
                    <a:pt x="93" y="139"/>
                  </a:cubicBezTo>
                  <a:cubicBezTo>
                    <a:pt x="68" y="131"/>
                    <a:pt x="0" y="60"/>
                    <a:pt x="0" y="60"/>
                  </a:cubicBezTo>
                  <a:lnTo>
                    <a:pt x="14" y="0"/>
                  </a:lnTo>
                  <a:cubicBezTo>
                    <a:pt x="14" y="0"/>
                    <a:pt x="40" y="46"/>
                    <a:pt x="65" y="66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2" name="işļiḑè">
              <a:extLst>
                <a:ext uri="{FF2B5EF4-FFF2-40B4-BE49-F238E27FC236}">
                  <a16:creationId xmlns="" xmlns:a16="http://schemas.microsoft.com/office/drawing/2014/main" id="{B4D213E3-255A-4950-8472-6B2E8952B4B3}"/>
                </a:ext>
              </a:extLst>
            </p:cNvPr>
            <p:cNvSpPr/>
            <p:nvPr/>
          </p:nvSpPr>
          <p:spPr bwMode="auto">
            <a:xfrm>
              <a:off x="920750" y="5040313"/>
              <a:ext cx="47625" cy="55562"/>
            </a:xfrm>
            <a:custGeom>
              <a:avLst/>
              <a:gdLst>
                <a:gd name="T0" fmla="*/ 111 w 133"/>
                <a:gd name="T1" fmla="*/ 101 h 154"/>
                <a:gd name="T2" fmla="*/ 123 w 133"/>
                <a:gd name="T3" fmla="*/ 111 h 154"/>
                <a:gd name="T4" fmla="*/ 126 w 133"/>
                <a:gd name="T5" fmla="*/ 140 h 154"/>
                <a:gd name="T6" fmla="*/ 106 w 133"/>
                <a:gd name="T7" fmla="*/ 153 h 154"/>
                <a:gd name="T8" fmla="*/ 98 w 133"/>
                <a:gd name="T9" fmla="*/ 151 h 154"/>
                <a:gd name="T10" fmla="*/ 3 w 133"/>
                <a:gd name="T11" fmla="*/ 69 h 154"/>
                <a:gd name="T12" fmla="*/ 3 w 133"/>
                <a:gd name="T13" fmla="*/ 63 h 154"/>
                <a:gd name="T14" fmla="*/ 8 w 133"/>
                <a:gd name="T15" fmla="*/ 63 h 154"/>
                <a:gd name="T16" fmla="*/ 100 w 133"/>
                <a:gd name="T17" fmla="*/ 144 h 154"/>
                <a:gd name="T18" fmla="*/ 120 w 133"/>
                <a:gd name="T19" fmla="*/ 137 h 154"/>
                <a:gd name="T20" fmla="*/ 118 w 133"/>
                <a:gd name="T21" fmla="*/ 117 h 154"/>
                <a:gd name="T22" fmla="*/ 105 w 133"/>
                <a:gd name="T23" fmla="*/ 106 h 154"/>
                <a:gd name="T24" fmla="*/ 69 w 133"/>
                <a:gd name="T25" fmla="*/ 75 h 154"/>
                <a:gd name="T26" fmla="*/ 15 w 133"/>
                <a:gd name="T27" fmla="*/ 7 h 154"/>
                <a:gd name="T28" fmla="*/ 17 w 133"/>
                <a:gd name="T29" fmla="*/ 2 h 154"/>
                <a:gd name="T30" fmla="*/ 23 w 133"/>
                <a:gd name="T31" fmla="*/ 4 h 154"/>
                <a:gd name="T32" fmla="*/ 73 w 133"/>
                <a:gd name="T33" fmla="*/ 69 h 154"/>
                <a:gd name="T34" fmla="*/ 111 w 133"/>
                <a:gd name="T35" fmla="*/ 10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154">
                  <a:moveTo>
                    <a:pt x="111" y="101"/>
                  </a:moveTo>
                  <a:cubicBezTo>
                    <a:pt x="114" y="104"/>
                    <a:pt x="119" y="108"/>
                    <a:pt x="123" y="111"/>
                  </a:cubicBezTo>
                  <a:cubicBezTo>
                    <a:pt x="131" y="118"/>
                    <a:pt x="132" y="131"/>
                    <a:pt x="126" y="140"/>
                  </a:cubicBezTo>
                  <a:cubicBezTo>
                    <a:pt x="123" y="147"/>
                    <a:pt x="117" y="153"/>
                    <a:pt x="106" y="153"/>
                  </a:cubicBezTo>
                  <a:cubicBezTo>
                    <a:pt x="104" y="153"/>
                    <a:pt x="100" y="152"/>
                    <a:pt x="98" y="151"/>
                  </a:cubicBezTo>
                  <a:cubicBezTo>
                    <a:pt x="73" y="142"/>
                    <a:pt x="5" y="73"/>
                    <a:pt x="3" y="69"/>
                  </a:cubicBezTo>
                  <a:cubicBezTo>
                    <a:pt x="0" y="68"/>
                    <a:pt x="0" y="66"/>
                    <a:pt x="3" y="63"/>
                  </a:cubicBezTo>
                  <a:cubicBezTo>
                    <a:pt x="4" y="62"/>
                    <a:pt x="6" y="62"/>
                    <a:pt x="8" y="63"/>
                  </a:cubicBezTo>
                  <a:cubicBezTo>
                    <a:pt x="27" y="84"/>
                    <a:pt x="81" y="138"/>
                    <a:pt x="100" y="144"/>
                  </a:cubicBezTo>
                  <a:cubicBezTo>
                    <a:pt x="109" y="146"/>
                    <a:pt x="116" y="144"/>
                    <a:pt x="120" y="137"/>
                  </a:cubicBezTo>
                  <a:cubicBezTo>
                    <a:pt x="124" y="131"/>
                    <a:pt x="124" y="123"/>
                    <a:pt x="118" y="117"/>
                  </a:cubicBezTo>
                  <a:cubicBezTo>
                    <a:pt x="113" y="113"/>
                    <a:pt x="110" y="110"/>
                    <a:pt x="105" y="106"/>
                  </a:cubicBezTo>
                  <a:cubicBezTo>
                    <a:pt x="97" y="98"/>
                    <a:pt x="86" y="89"/>
                    <a:pt x="69" y="75"/>
                  </a:cubicBezTo>
                  <a:cubicBezTo>
                    <a:pt x="43" y="55"/>
                    <a:pt x="17" y="10"/>
                    <a:pt x="15" y="7"/>
                  </a:cubicBezTo>
                  <a:cubicBezTo>
                    <a:pt x="14" y="5"/>
                    <a:pt x="14" y="3"/>
                    <a:pt x="17" y="2"/>
                  </a:cubicBezTo>
                  <a:cubicBezTo>
                    <a:pt x="18" y="0"/>
                    <a:pt x="21" y="2"/>
                    <a:pt x="23" y="4"/>
                  </a:cubicBezTo>
                  <a:cubicBezTo>
                    <a:pt x="23" y="4"/>
                    <a:pt x="48" y="51"/>
                    <a:pt x="73" y="69"/>
                  </a:cubicBezTo>
                  <a:cubicBezTo>
                    <a:pt x="91" y="83"/>
                    <a:pt x="102" y="92"/>
                    <a:pt x="111" y="10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3" name="îṡlîḋe">
              <a:extLst>
                <a:ext uri="{FF2B5EF4-FFF2-40B4-BE49-F238E27FC236}">
                  <a16:creationId xmlns="" xmlns:a16="http://schemas.microsoft.com/office/drawing/2014/main" id="{70189095-653F-4B36-8803-7FA36C0C9B81}"/>
                </a:ext>
              </a:extLst>
            </p:cNvPr>
            <p:cNvSpPr/>
            <p:nvPr/>
          </p:nvSpPr>
          <p:spPr bwMode="auto">
            <a:xfrm>
              <a:off x="950913" y="5078413"/>
              <a:ext cx="14287" cy="12700"/>
            </a:xfrm>
            <a:custGeom>
              <a:avLst/>
              <a:gdLst>
                <a:gd name="T0" fmla="*/ 16 w 41"/>
                <a:gd name="T1" fmla="*/ 3 h 36"/>
                <a:gd name="T2" fmla="*/ 38 w 41"/>
                <a:gd name="T3" fmla="*/ 21 h 36"/>
                <a:gd name="T4" fmla="*/ 27 w 41"/>
                <a:gd name="T5" fmla="*/ 32 h 36"/>
                <a:gd name="T6" fmla="*/ 0 w 41"/>
                <a:gd name="T7" fmla="*/ 23 h 36"/>
                <a:gd name="T8" fmla="*/ 16 w 41"/>
                <a:gd name="T9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6">
                  <a:moveTo>
                    <a:pt x="16" y="3"/>
                  </a:moveTo>
                  <a:cubicBezTo>
                    <a:pt x="19" y="6"/>
                    <a:pt x="34" y="14"/>
                    <a:pt x="38" y="21"/>
                  </a:cubicBezTo>
                  <a:cubicBezTo>
                    <a:pt x="40" y="26"/>
                    <a:pt x="32" y="31"/>
                    <a:pt x="27" y="32"/>
                  </a:cubicBezTo>
                  <a:cubicBezTo>
                    <a:pt x="15" y="35"/>
                    <a:pt x="0" y="23"/>
                    <a:pt x="0" y="23"/>
                  </a:cubicBezTo>
                  <a:cubicBezTo>
                    <a:pt x="0" y="23"/>
                    <a:pt x="10" y="0"/>
                    <a:pt x="16" y="3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4" name="ísḷiďè">
              <a:extLst>
                <a:ext uri="{FF2B5EF4-FFF2-40B4-BE49-F238E27FC236}">
                  <a16:creationId xmlns="" xmlns:a16="http://schemas.microsoft.com/office/drawing/2014/main" id="{BB787A75-477B-495E-94B5-961F169B4452}"/>
                </a:ext>
              </a:extLst>
            </p:cNvPr>
            <p:cNvSpPr/>
            <p:nvPr/>
          </p:nvSpPr>
          <p:spPr bwMode="auto">
            <a:xfrm>
              <a:off x="949325" y="5078413"/>
              <a:ext cx="15875" cy="14287"/>
            </a:xfrm>
            <a:custGeom>
              <a:avLst/>
              <a:gdLst>
                <a:gd name="T0" fmla="*/ 36 w 46"/>
                <a:gd name="T1" fmla="*/ 26 h 41"/>
                <a:gd name="T2" fmla="*/ 36 w 46"/>
                <a:gd name="T3" fmla="*/ 24 h 41"/>
                <a:gd name="T4" fmla="*/ 20 w 46"/>
                <a:gd name="T5" fmla="*/ 9 h 41"/>
                <a:gd name="T6" fmla="*/ 18 w 46"/>
                <a:gd name="T7" fmla="*/ 8 h 41"/>
                <a:gd name="T8" fmla="*/ 9 w 46"/>
                <a:gd name="T9" fmla="*/ 23 h 41"/>
                <a:gd name="T10" fmla="*/ 27 w 46"/>
                <a:gd name="T11" fmla="*/ 31 h 41"/>
                <a:gd name="T12" fmla="*/ 29 w 46"/>
                <a:gd name="T13" fmla="*/ 31 h 41"/>
                <a:gd name="T14" fmla="*/ 36 w 46"/>
                <a:gd name="T15" fmla="*/ 26 h 41"/>
                <a:gd name="T16" fmla="*/ 24 w 46"/>
                <a:gd name="T17" fmla="*/ 2 h 41"/>
                <a:gd name="T18" fmla="*/ 44 w 46"/>
                <a:gd name="T19" fmla="*/ 21 h 41"/>
                <a:gd name="T20" fmla="*/ 43 w 46"/>
                <a:gd name="T21" fmla="*/ 29 h 41"/>
                <a:gd name="T22" fmla="*/ 30 w 46"/>
                <a:gd name="T23" fmla="*/ 39 h 41"/>
                <a:gd name="T24" fmla="*/ 27 w 46"/>
                <a:gd name="T25" fmla="*/ 40 h 41"/>
                <a:gd name="T26" fmla="*/ 1 w 46"/>
                <a:gd name="T27" fmla="*/ 28 h 41"/>
                <a:gd name="T28" fmla="*/ 0 w 46"/>
                <a:gd name="T29" fmla="*/ 23 h 41"/>
                <a:gd name="T30" fmla="*/ 18 w 46"/>
                <a:gd name="T31" fmla="*/ 0 h 41"/>
                <a:gd name="T32" fmla="*/ 21 w 46"/>
                <a:gd name="T33" fmla="*/ 1 h 41"/>
                <a:gd name="T34" fmla="*/ 24 w 46"/>
                <a:gd name="T35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1">
                  <a:moveTo>
                    <a:pt x="36" y="26"/>
                  </a:moveTo>
                  <a:cubicBezTo>
                    <a:pt x="37" y="24"/>
                    <a:pt x="37" y="24"/>
                    <a:pt x="36" y="24"/>
                  </a:cubicBezTo>
                  <a:cubicBezTo>
                    <a:pt x="35" y="19"/>
                    <a:pt x="25" y="13"/>
                    <a:pt x="20" y="9"/>
                  </a:cubicBezTo>
                  <a:cubicBezTo>
                    <a:pt x="19" y="8"/>
                    <a:pt x="18" y="8"/>
                    <a:pt x="18" y="8"/>
                  </a:cubicBezTo>
                  <a:cubicBezTo>
                    <a:pt x="16" y="9"/>
                    <a:pt x="11" y="16"/>
                    <a:pt x="9" y="23"/>
                  </a:cubicBezTo>
                  <a:cubicBezTo>
                    <a:pt x="12" y="27"/>
                    <a:pt x="19" y="31"/>
                    <a:pt x="27" y="31"/>
                  </a:cubicBezTo>
                  <a:cubicBezTo>
                    <a:pt x="27" y="31"/>
                    <a:pt x="28" y="31"/>
                    <a:pt x="29" y="31"/>
                  </a:cubicBezTo>
                  <a:cubicBezTo>
                    <a:pt x="31" y="30"/>
                    <a:pt x="35" y="28"/>
                    <a:pt x="36" y="26"/>
                  </a:cubicBezTo>
                  <a:close/>
                  <a:moveTo>
                    <a:pt x="24" y="2"/>
                  </a:moveTo>
                  <a:cubicBezTo>
                    <a:pt x="33" y="8"/>
                    <a:pt x="40" y="14"/>
                    <a:pt x="44" y="21"/>
                  </a:cubicBezTo>
                  <a:cubicBezTo>
                    <a:pt x="45" y="24"/>
                    <a:pt x="44" y="27"/>
                    <a:pt x="43" y="29"/>
                  </a:cubicBezTo>
                  <a:cubicBezTo>
                    <a:pt x="40" y="34"/>
                    <a:pt x="35" y="37"/>
                    <a:pt x="30" y="39"/>
                  </a:cubicBezTo>
                  <a:cubicBezTo>
                    <a:pt x="29" y="39"/>
                    <a:pt x="28" y="40"/>
                    <a:pt x="27" y="40"/>
                  </a:cubicBezTo>
                  <a:cubicBezTo>
                    <a:pt x="13" y="40"/>
                    <a:pt x="2" y="28"/>
                    <a:pt x="1" y="28"/>
                  </a:cubicBezTo>
                  <a:cubicBezTo>
                    <a:pt x="0" y="27"/>
                    <a:pt x="0" y="24"/>
                    <a:pt x="0" y="23"/>
                  </a:cubicBezTo>
                  <a:cubicBezTo>
                    <a:pt x="5" y="13"/>
                    <a:pt x="11" y="0"/>
                    <a:pt x="18" y="0"/>
                  </a:cubicBezTo>
                  <a:cubicBezTo>
                    <a:pt x="19" y="0"/>
                    <a:pt x="20" y="0"/>
                    <a:pt x="21" y="1"/>
                  </a:cubicBezTo>
                  <a:cubicBezTo>
                    <a:pt x="22" y="1"/>
                    <a:pt x="22" y="2"/>
                    <a:pt x="24" y="2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5" name="ï$ḷîḋe">
              <a:extLst>
                <a:ext uri="{FF2B5EF4-FFF2-40B4-BE49-F238E27FC236}">
                  <a16:creationId xmlns="" xmlns:a16="http://schemas.microsoft.com/office/drawing/2014/main" id="{16ADAA8D-F25C-4B0D-AB64-CE8AB57D2817}"/>
                </a:ext>
              </a:extLst>
            </p:cNvPr>
            <p:cNvSpPr/>
            <p:nvPr/>
          </p:nvSpPr>
          <p:spPr bwMode="auto">
            <a:xfrm>
              <a:off x="919163" y="5089525"/>
              <a:ext cx="9525" cy="7938"/>
            </a:xfrm>
            <a:custGeom>
              <a:avLst/>
              <a:gdLst>
                <a:gd name="T0" fmla="*/ 17 w 25"/>
                <a:gd name="T1" fmla="*/ 1 h 20"/>
                <a:gd name="T2" fmla="*/ 23 w 25"/>
                <a:gd name="T3" fmla="*/ 1 h 20"/>
                <a:gd name="T4" fmla="*/ 23 w 25"/>
                <a:gd name="T5" fmla="*/ 7 h 20"/>
                <a:gd name="T6" fmla="*/ 14 w 25"/>
                <a:gd name="T7" fmla="*/ 14 h 20"/>
                <a:gd name="T8" fmla="*/ 8 w 25"/>
                <a:gd name="T9" fmla="*/ 18 h 20"/>
                <a:gd name="T10" fmla="*/ 5 w 25"/>
                <a:gd name="T11" fmla="*/ 19 h 20"/>
                <a:gd name="T12" fmla="*/ 3 w 25"/>
                <a:gd name="T13" fmla="*/ 18 h 20"/>
                <a:gd name="T14" fmla="*/ 3 w 25"/>
                <a:gd name="T15" fmla="*/ 11 h 20"/>
                <a:gd name="T16" fmla="*/ 10 w 25"/>
                <a:gd name="T17" fmla="*/ 6 h 20"/>
                <a:gd name="T18" fmla="*/ 17 w 25"/>
                <a:gd name="T1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0">
                  <a:moveTo>
                    <a:pt x="17" y="1"/>
                  </a:moveTo>
                  <a:cubicBezTo>
                    <a:pt x="18" y="0"/>
                    <a:pt x="21" y="0"/>
                    <a:pt x="23" y="1"/>
                  </a:cubicBezTo>
                  <a:cubicBezTo>
                    <a:pt x="24" y="3"/>
                    <a:pt x="24" y="6"/>
                    <a:pt x="23" y="7"/>
                  </a:cubicBezTo>
                  <a:cubicBezTo>
                    <a:pt x="21" y="10"/>
                    <a:pt x="17" y="11"/>
                    <a:pt x="14" y="14"/>
                  </a:cubicBezTo>
                  <a:cubicBezTo>
                    <a:pt x="12" y="15"/>
                    <a:pt x="10" y="16"/>
                    <a:pt x="8" y="18"/>
                  </a:cubicBezTo>
                  <a:cubicBezTo>
                    <a:pt x="8" y="19"/>
                    <a:pt x="6" y="19"/>
                    <a:pt x="5" y="19"/>
                  </a:cubicBezTo>
                  <a:cubicBezTo>
                    <a:pt x="4" y="19"/>
                    <a:pt x="3" y="19"/>
                    <a:pt x="3" y="18"/>
                  </a:cubicBezTo>
                  <a:cubicBezTo>
                    <a:pt x="0" y="15"/>
                    <a:pt x="0" y="12"/>
                    <a:pt x="3" y="11"/>
                  </a:cubicBezTo>
                  <a:cubicBezTo>
                    <a:pt x="5" y="9"/>
                    <a:pt x="7" y="7"/>
                    <a:pt x="10" y="6"/>
                  </a:cubicBezTo>
                  <a:cubicBezTo>
                    <a:pt x="12" y="5"/>
                    <a:pt x="14" y="3"/>
                    <a:pt x="17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6" name="îšľíḓé">
              <a:extLst>
                <a:ext uri="{FF2B5EF4-FFF2-40B4-BE49-F238E27FC236}">
                  <a16:creationId xmlns="" xmlns:a16="http://schemas.microsoft.com/office/drawing/2014/main" id="{6481D6A0-1E4A-40CE-A2D6-49F3CDBEEAF3}"/>
                </a:ext>
              </a:extLst>
            </p:cNvPr>
            <p:cNvSpPr/>
            <p:nvPr/>
          </p:nvSpPr>
          <p:spPr bwMode="auto">
            <a:xfrm>
              <a:off x="930275" y="5100638"/>
              <a:ext cx="4763" cy="9525"/>
            </a:xfrm>
            <a:custGeom>
              <a:avLst/>
              <a:gdLst>
                <a:gd name="T0" fmla="*/ 7 w 15"/>
                <a:gd name="T1" fmla="*/ 2 h 26"/>
                <a:gd name="T2" fmla="*/ 13 w 15"/>
                <a:gd name="T3" fmla="*/ 2 h 26"/>
                <a:gd name="T4" fmla="*/ 13 w 15"/>
                <a:gd name="T5" fmla="*/ 8 h 26"/>
                <a:gd name="T6" fmla="*/ 7 w 15"/>
                <a:gd name="T7" fmla="*/ 20 h 26"/>
                <a:gd name="T8" fmla="*/ 7 w 15"/>
                <a:gd name="T9" fmla="*/ 21 h 26"/>
                <a:gd name="T10" fmla="*/ 4 w 15"/>
                <a:gd name="T11" fmla="*/ 25 h 26"/>
                <a:gd name="T12" fmla="*/ 3 w 15"/>
                <a:gd name="T13" fmla="*/ 23 h 26"/>
                <a:gd name="T14" fmla="*/ 0 w 15"/>
                <a:gd name="T15" fmla="*/ 19 h 26"/>
                <a:gd name="T16" fmla="*/ 1 w 15"/>
                <a:gd name="T17" fmla="*/ 17 h 26"/>
                <a:gd name="T18" fmla="*/ 7 w 15"/>
                <a:gd name="T1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6">
                  <a:moveTo>
                    <a:pt x="7" y="2"/>
                  </a:moveTo>
                  <a:cubicBezTo>
                    <a:pt x="9" y="0"/>
                    <a:pt x="11" y="0"/>
                    <a:pt x="13" y="2"/>
                  </a:cubicBezTo>
                  <a:cubicBezTo>
                    <a:pt x="14" y="3"/>
                    <a:pt x="14" y="5"/>
                    <a:pt x="13" y="8"/>
                  </a:cubicBezTo>
                  <a:cubicBezTo>
                    <a:pt x="10" y="10"/>
                    <a:pt x="9" y="15"/>
                    <a:pt x="7" y="20"/>
                  </a:cubicBezTo>
                  <a:lnTo>
                    <a:pt x="7" y="21"/>
                  </a:lnTo>
                  <a:cubicBezTo>
                    <a:pt x="7" y="23"/>
                    <a:pt x="5" y="25"/>
                    <a:pt x="4" y="25"/>
                  </a:cubicBezTo>
                  <a:cubicBezTo>
                    <a:pt x="3" y="25"/>
                    <a:pt x="3" y="25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lnTo>
                    <a:pt x="1" y="17"/>
                  </a:lnTo>
                  <a:cubicBezTo>
                    <a:pt x="2" y="13"/>
                    <a:pt x="3" y="6"/>
                    <a:pt x="7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7" name="ïsḻïďè">
              <a:extLst>
                <a:ext uri="{FF2B5EF4-FFF2-40B4-BE49-F238E27FC236}">
                  <a16:creationId xmlns="" xmlns:a16="http://schemas.microsoft.com/office/drawing/2014/main" id="{3DC3505B-15CF-4252-81CC-51335CA1CD6D}"/>
                </a:ext>
              </a:extLst>
            </p:cNvPr>
            <p:cNvSpPr/>
            <p:nvPr/>
          </p:nvSpPr>
          <p:spPr bwMode="auto">
            <a:xfrm>
              <a:off x="846138" y="4916488"/>
              <a:ext cx="4762" cy="9525"/>
            </a:xfrm>
            <a:custGeom>
              <a:avLst/>
              <a:gdLst>
                <a:gd name="T0" fmla="*/ 10 w 15"/>
                <a:gd name="T1" fmla="*/ 1 h 26"/>
                <a:gd name="T2" fmla="*/ 13 w 15"/>
                <a:gd name="T3" fmla="*/ 6 h 26"/>
                <a:gd name="T4" fmla="*/ 10 w 15"/>
                <a:gd name="T5" fmla="*/ 17 h 26"/>
                <a:gd name="T6" fmla="*/ 9 w 15"/>
                <a:gd name="T7" fmla="*/ 22 h 26"/>
                <a:gd name="T8" fmla="*/ 5 w 15"/>
                <a:gd name="T9" fmla="*/ 25 h 26"/>
                <a:gd name="T10" fmla="*/ 4 w 15"/>
                <a:gd name="T11" fmla="*/ 25 h 26"/>
                <a:gd name="T12" fmla="*/ 1 w 15"/>
                <a:gd name="T13" fmla="*/ 20 h 26"/>
                <a:gd name="T14" fmla="*/ 1 w 15"/>
                <a:gd name="T15" fmla="*/ 16 h 26"/>
                <a:gd name="T16" fmla="*/ 5 w 15"/>
                <a:gd name="T17" fmla="*/ 3 h 26"/>
                <a:gd name="T18" fmla="*/ 10 w 15"/>
                <a:gd name="T1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6">
                  <a:moveTo>
                    <a:pt x="10" y="1"/>
                  </a:moveTo>
                  <a:cubicBezTo>
                    <a:pt x="13" y="2"/>
                    <a:pt x="14" y="4"/>
                    <a:pt x="13" y="6"/>
                  </a:cubicBezTo>
                  <a:cubicBezTo>
                    <a:pt x="12" y="10"/>
                    <a:pt x="12" y="13"/>
                    <a:pt x="10" y="17"/>
                  </a:cubicBezTo>
                  <a:cubicBezTo>
                    <a:pt x="10" y="18"/>
                    <a:pt x="10" y="20"/>
                    <a:pt x="9" y="22"/>
                  </a:cubicBezTo>
                  <a:cubicBezTo>
                    <a:pt x="9" y="24"/>
                    <a:pt x="8" y="25"/>
                    <a:pt x="5" y="25"/>
                  </a:cubicBezTo>
                  <a:cubicBezTo>
                    <a:pt x="5" y="25"/>
                    <a:pt x="5" y="25"/>
                    <a:pt x="4" y="25"/>
                  </a:cubicBezTo>
                  <a:cubicBezTo>
                    <a:pt x="3" y="24"/>
                    <a:pt x="0" y="23"/>
                    <a:pt x="1" y="20"/>
                  </a:cubicBezTo>
                  <a:cubicBezTo>
                    <a:pt x="1" y="19"/>
                    <a:pt x="1" y="17"/>
                    <a:pt x="1" y="16"/>
                  </a:cubicBezTo>
                  <a:cubicBezTo>
                    <a:pt x="3" y="12"/>
                    <a:pt x="4" y="8"/>
                    <a:pt x="5" y="3"/>
                  </a:cubicBezTo>
                  <a:cubicBezTo>
                    <a:pt x="7" y="1"/>
                    <a:pt x="9" y="0"/>
                    <a:pt x="10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8" name="îS1îḓe">
              <a:extLst>
                <a:ext uri="{FF2B5EF4-FFF2-40B4-BE49-F238E27FC236}">
                  <a16:creationId xmlns="" xmlns:a16="http://schemas.microsoft.com/office/drawing/2014/main" id="{4B16A972-53E0-4928-9BD8-032607F3E2EB}"/>
                </a:ext>
              </a:extLst>
            </p:cNvPr>
            <p:cNvSpPr/>
            <p:nvPr/>
          </p:nvSpPr>
          <p:spPr bwMode="auto">
            <a:xfrm>
              <a:off x="847725" y="4935538"/>
              <a:ext cx="3175" cy="9525"/>
            </a:xfrm>
            <a:custGeom>
              <a:avLst/>
              <a:gdLst>
                <a:gd name="T0" fmla="*/ 8 w 10"/>
                <a:gd name="T1" fmla="*/ 7 h 25"/>
                <a:gd name="T2" fmla="*/ 9 w 10"/>
                <a:gd name="T3" fmla="*/ 19 h 25"/>
                <a:gd name="T4" fmla="*/ 7 w 10"/>
                <a:gd name="T5" fmla="*/ 24 h 25"/>
                <a:gd name="T6" fmla="*/ 6 w 10"/>
                <a:gd name="T7" fmla="*/ 24 h 25"/>
                <a:gd name="T8" fmla="*/ 1 w 10"/>
                <a:gd name="T9" fmla="*/ 21 h 25"/>
                <a:gd name="T10" fmla="*/ 0 w 10"/>
                <a:gd name="T11" fmla="*/ 7 h 25"/>
                <a:gd name="T12" fmla="*/ 0 w 10"/>
                <a:gd name="T13" fmla="*/ 5 h 25"/>
                <a:gd name="T14" fmla="*/ 5 w 10"/>
                <a:gd name="T15" fmla="*/ 0 h 25"/>
                <a:gd name="T16" fmla="*/ 8 w 10"/>
                <a:gd name="T17" fmla="*/ 3 h 25"/>
                <a:gd name="T18" fmla="*/ 8 w 10"/>
                <a:gd name="T1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5">
                  <a:moveTo>
                    <a:pt x="8" y="7"/>
                  </a:moveTo>
                  <a:cubicBezTo>
                    <a:pt x="8" y="11"/>
                    <a:pt x="8" y="15"/>
                    <a:pt x="9" y="19"/>
                  </a:cubicBezTo>
                  <a:cubicBezTo>
                    <a:pt x="9" y="20"/>
                    <a:pt x="8" y="23"/>
                    <a:pt x="7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4" y="24"/>
                    <a:pt x="3" y="23"/>
                    <a:pt x="1" y="21"/>
                  </a:cubicBezTo>
                  <a:cubicBezTo>
                    <a:pt x="0" y="16"/>
                    <a:pt x="0" y="11"/>
                    <a:pt x="0" y="7"/>
                  </a:cubicBezTo>
                  <a:lnTo>
                    <a:pt x="0" y="5"/>
                  </a:lnTo>
                  <a:cubicBezTo>
                    <a:pt x="0" y="2"/>
                    <a:pt x="3" y="0"/>
                    <a:pt x="5" y="0"/>
                  </a:cubicBezTo>
                  <a:cubicBezTo>
                    <a:pt x="7" y="0"/>
                    <a:pt x="8" y="2"/>
                    <a:pt x="8" y="3"/>
                  </a:cubicBezTo>
                  <a:lnTo>
                    <a:pt x="8" y="7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9" name="îṣľïḑe">
              <a:extLst>
                <a:ext uri="{FF2B5EF4-FFF2-40B4-BE49-F238E27FC236}">
                  <a16:creationId xmlns="" xmlns:a16="http://schemas.microsoft.com/office/drawing/2014/main" id="{7288B7B5-C989-492C-9D5B-FEF4F91CB34A}"/>
                </a:ext>
              </a:extLst>
            </p:cNvPr>
            <p:cNvSpPr/>
            <p:nvPr/>
          </p:nvSpPr>
          <p:spPr bwMode="auto">
            <a:xfrm>
              <a:off x="850900" y="4954588"/>
              <a:ext cx="4763" cy="4762"/>
            </a:xfrm>
            <a:custGeom>
              <a:avLst/>
              <a:gdLst>
                <a:gd name="T0" fmla="*/ 7 w 15"/>
                <a:gd name="T1" fmla="*/ 1 h 15"/>
                <a:gd name="T2" fmla="*/ 12 w 15"/>
                <a:gd name="T3" fmla="*/ 7 h 15"/>
                <a:gd name="T4" fmla="*/ 12 w 15"/>
                <a:gd name="T5" fmla="*/ 13 h 15"/>
                <a:gd name="T6" fmla="*/ 10 w 15"/>
                <a:gd name="T7" fmla="*/ 14 h 15"/>
                <a:gd name="T8" fmla="*/ 6 w 15"/>
                <a:gd name="T9" fmla="*/ 12 h 15"/>
                <a:gd name="T10" fmla="*/ 1 w 15"/>
                <a:gd name="T11" fmla="*/ 7 h 15"/>
                <a:gd name="T12" fmla="*/ 1 w 15"/>
                <a:gd name="T13" fmla="*/ 1 h 15"/>
                <a:gd name="T14" fmla="*/ 7 w 15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7" y="1"/>
                  </a:moveTo>
                  <a:cubicBezTo>
                    <a:pt x="7" y="2"/>
                    <a:pt x="11" y="6"/>
                    <a:pt x="12" y="7"/>
                  </a:cubicBezTo>
                  <a:cubicBezTo>
                    <a:pt x="14" y="9"/>
                    <a:pt x="14" y="12"/>
                    <a:pt x="12" y="13"/>
                  </a:cubicBezTo>
                  <a:cubicBezTo>
                    <a:pt x="11" y="13"/>
                    <a:pt x="10" y="14"/>
                    <a:pt x="10" y="14"/>
                  </a:cubicBezTo>
                  <a:cubicBezTo>
                    <a:pt x="9" y="14"/>
                    <a:pt x="7" y="14"/>
                    <a:pt x="6" y="12"/>
                  </a:cubicBezTo>
                  <a:cubicBezTo>
                    <a:pt x="5" y="11"/>
                    <a:pt x="2" y="7"/>
                    <a:pt x="1" y="7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6" y="0"/>
                    <a:pt x="7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0" name="íśļïḍe">
              <a:extLst>
                <a:ext uri="{FF2B5EF4-FFF2-40B4-BE49-F238E27FC236}">
                  <a16:creationId xmlns="" xmlns:a16="http://schemas.microsoft.com/office/drawing/2014/main" id="{28EA31F4-EC92-4CDD-B3D9-DA521E4D5449}"/>
                </a:ext>
              </a:extLst>
            </p:cNvPr>
            <p:cNvSpPr/>
            <p:nvPr/>
          </p:nvSpPr>
          <p:spPr bwMode="auto">
            <a:xfrm>
              <a:off x="869950" y="4967288"/>
              <a:ext cx="4763" cy="9525"/>
            </a:xfrm>
            <a:custGeom>
              <a:avLst/>
              <a:gdLst>
                <a:gd name="T0" fmla="*/ 6 w 15"/>
                <a:gd name="T1" fmla="*/ 3 h 25"/>
                <a:gd name="T2" fmla="*/ 13 w 15"/>
                <a:gd name="T3" fmla="*/ 18 h 25"/>
                <a:gd name="T4" fmla="*/ 13 w 15"/>
                <a:gd name="T5" fmla="*/ 23 h 25"/>
                <a:gd name="T6" fmla="*/ 11 w 15"/>
                <a:gd name="T7" fmla="*/ 24 h 25"/>
                <a:gd name="T8" fmla="*/ 7 w 15"/>
                <a:gd name="T9" fmla="*/ 23 h 25"/>
                <a:gd name="T10" fmla="*/ 0 w 15"/>
                <a:gd name="T11" fmla="*/ 4 h 25"/>
                <a:gd name="T12" fmla="*/ 3 w 15"/>
                <a:gd name="T13" fmla="*/ 0 h 25"/>
                <a:gd name="T14" fmla="*/ 6 w 15"/>
                <a:gd name="T15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5">
                  <a:moveTo>
                    <a:pt x="6" y="3"/>
                  </a:moveTo>
                  <a:cubicBezTo>
                    <a:pt x="7" y="8"/>
                    <a:pt x="10" y="14"/>
                    <a:pt x="13" y="18"/>
                  </a:cubicBezTo>
                  <a:cubicBezTo>
                    <a:pt x="14" y="19"/>
                    <a:pt x="14" y="22"/>
                    <a:pt x="13" y="23"/>
                  </a:cubicBezTo>
                  <a:cubicBezTo>
                    <a:pt x="12" y="24"/>
                    <a:pt x="11" y="24"/>
                    <a:pt x="11" y="24"/>
                  </a:cubicBezTo>
                  <a:cubicBezTo>
                    <a:pt x="10" y="24"/>
                    <a:pt x="9" y="24"/>
                    <a:pt x="7" y="23"/>
                  </a:cubicBezTo>
                  <a:cubicBezTo>
                    <a:pt x="3" y="17"/>
                    <a:pt x="0" y="10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1" name="îśḷíḍé">
              <a:extLst>
                <a:ext uri="{FF2B5EF4-FFF2-40B4-BE49-F238E27FC236}">
                  <a16:creationId xmlns="" xmlns:a16="http://schemas.microsoft.com/office/drawing/2014/main" id="{E5DD18AE-759B-421E-B9C1-F88CBAFA61A4}"/>
                </a:ext>
              </a:extLst>
            </p:cNvPr>
            <p:cNvSpPr/>
            <p:nvPr/>
          </p:nvSpPr>
          <p:spPr bwMode="auto">
            <a:xfrm>
              <a:off x="869950" y="4895850"/>
              <a:ext cx="7938" cy="7938"/>
            </a:xfrm>
            <a:custGeom>
              <a:avLst/>
              <a:gdLst>
                <a:gd name="T0" fmla="*/ 11 w 20"/>
                <a:gd name="T1" fmla="*/ 2 h 20"/>
                <a:gd name="T2" fmla="*/ 16 w 20"/>
                <a:gd name="T3" fmla="*/ 1 h 20"/>
                <a:gd name="T4" fmla="*/ 18 w 20"/>
                <a:gd name="T5" fmla="*/ 7 h 20"/>
                <a:gd name="T6" fmla="*/ 15 w 20"/>
                <a:gd name="T7" fmla="*/ 9 h 20"/>
                <a:gd name="T8" fmla="*/ 7 w 20"/>
                <a:gd name="T9" fmla="*/ 18 h 20"/>
                <a:gd name="T10" fmla="*/ 5 w 20"/>
                <a:gd name="T11" fmla="*/ 19 h 20"/>
                <a:gd name="T12" fmla="*/ 2 w 20"/>
                <a:gd name="T13" fmla="*/ 18 h 20"/>
                <a:gd name="T14" fmla="*/ 1 w 20"/>
                <a:gd name="T15" fmla="*/ 12 h 20"/>
                <a:gd name="T16" fmla="*/ 7 w 20"/>
                <a:gd name="T17" fmla="*/ 5 h 20"/>
                <a:gd name="T18" fmla="*/ 11 w 20"/>
                <a:gd name="T1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1" y="2"/>
                  </a:moveTo>
                  <a:cubicBezTo>
                    <a:pt x="13" y="0"/>
                    <a:pt x="15" y="0"/>
                    <a:pt x="16" y="1"/>
                  </a:cubicBezTo>
                  <a:cubicBezTo>
                    <a:pt x="19" y="2"/>
                    <a:pt x="19" y="5"/>
                    <a:pt x="18" y="7"/>
                  </a:cubicBezTo>
                  <a:cubicBezTo>
                    <a:pt x="16" y="8"/>
                    <a:pt x="15" y="9"/>
                    <a:pt x="15" y="9"/>
                  </a:cubicBezTo>
                  <a:cubicBezTo>
                    <a:pt x="13" y="13"/>
                    <a:pt x="10" y="16"/>
                    <a:pt x="7" y="18"/>
                  </a:cubicBezTo>
                  <a:cubicBezTo>
                    <a:pt x="7" y="18"/>
                    <a:pt x="6" y="19"/>
                    <a:pt x="5" y="19"/>
                  </a:cubicBezTo>
                  <a:cubicBezTo>
                    <a:pt x="4" y="19"/>
                    <a:pt x="2" y="18"/>
                    <a:pt x="2" y="18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4" y="9"/>
                    <a:pt x="6" y="7"/>
                    <a:pt x="7" y="5"/>
                  </a:cubicBezTo>
                  <a:cubicBezTo>
                    <a:pt x="9" y="3"/>
                    <a:pt x="10" y="2"/>
                    <a:pt x="11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2" name="ï$ļîďe">
              <a:extLst>
                <a:ext uri="{FF2B5EF4-FFF2-40B4-BE49-F238E27FC236}">
                  <a16:creationId xmlns="" xmlns:a16="http://schemas.microsoft.com/office/drawing/2014/main" id="{481FA88F-4150-410A-8CD9-026D2CBB2BBD}"/>
                </a:ext>
              </a:extLst>
            </p:cNvPr>
            <p:cNvSpPr/>
            <p:nvPr/>
          </p:nvSpPr>
          <p:spPr bwMode="auto">
            <a:xfrm>
              <a:off x="850900" y="4881563"/>
              <a:ext cx="15875" cy="12700"/>
            </a:xfrm>
            <a:custGeom>
              <a:avLst/>
              <a:gdLst>
                <a:gd name="T0" fmla="*/ 3 w 46"/>
                <a:gd name="T1" fmla="*/ 14 h 36"/>
                <a:gd name="T2" fmla="*/ 45 w 46"/>
                <a:gd name="T3" fmla="*/ 14 h 36"/>
                <a:gd name="T4" fmla="*/ 40 w 46"/>
                <a:gd name="T5" fmla="*/ 24 h 36"/>
                <a:gd name="T6" fmla="*/ 3 w 46"/>
                <a:gd name="T7" fmla="*/ 1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36">
                  <a:moveTo>
                    <a:pt x="3" y="14"/>
                  </a:moveTo>
                  <a:cubicBezTo>
                    <a:pt x="0" y="0"/>
                    <a:pt x="43" y="14"/>
                    <a:pt x="45" y="14"/>
                  </a:cubicBezTo>
                  <a:lnTo>
                    <a:pt x="40" y="24"/>
                  </a:lnTo>
                  <a:cubicBezTo>
                    <a:pt x="40" y="24"/>
                    <a:pt x="9" y="35"/>
                    <a:pt x="3" y="14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3" name="iṩlíḑê">
              <a:extLst>
                <a:ext uri="{FF2B5EF4-FFF2-40B4-BE49-F238E27FC236}">
                  <a16:creationId xmlns="" xmlns:a16="http://schemas.microsoft.com/office/drawing/2014/main" id="{1C7BC76F-CADB-45D5-AE25-B6441A3061AE}"/>
                </a:ext>
              </a:extLst>
            </p:cNvPr>
            <p:cNvSpPr/>
            <p:nvPr/>
          </p:nvSpPr>
          <p:spPr bwMode="auto">
            <a:xfrm>
              <a:off x="850900" y="4883150"/>
              <a:ext cx="19050" cy="11113"/>
            </a:xfrm>
            <a:custGeom>
              <a:avLst/>
              <a:gdLst>
                <a:gd name="T0" fmla="*/ 39 w 51"/>
                <a:gd name="T1" fmla="*/ 18 h 31"/>
                <a:gd name="T2" fmla="*/ 41 w 51"/>
                <a:gd name="T3" fmla="*/ 14 h 31"/>
                <a:gd name="T4" fmla="*/ 13 w 51"/>
                <a:gd name="T5" fmla="*/ 9 h 31"/>
                <a:gd name="T6" fmla="*/ 9 w 51"/>
                <a:gd name="T7" fmla="*/ 9 h 31"/>
                <a:gd name="T8" fmla="*/ 9 w 51"/>
                <a:gd name="T9" fmla="*/ 10 h 31"/>
                <a:gd name="T10" fmla="*/ 26 w 51"/>
                <a:gd name="T11" fmla="*/ 21 h 31"/>
                <a:gd name="T12" fmla="*/ 39 w 51"/>
                <a:gd name="T13" fmla="*/ 18 h 31"/>
                <a:gd name="T14" fmla="*/ 46 w 51"/>
                <a:gd name="T15" fmla="*/ 6 h 31"/>
                <a:gd name="T16" fmla="*/ 50 w 51"/>
                <a:gd name="T17" fmla="*/ 9 h 31"/>
                <a:gd name="T18" fmla="*/ 50 w 51"/>
                <a:gd name="T19" fmla="*/ 12 h 31"/>
                <a:gd name="T20" fmla="*/ 45 w 51"/>
                <a:gd name="T21" fmla="*/ 23 h 31"/>
                <a:gd name="T22" fmla="*/ 43 w 51"/>
                <a:gd name="T23" fmla="*/ 26 h 31"/>
                <a:gd name="T24" fmla="*/ 26 w 51"/>
                <a:gd name="T25" fmla="*/ 30 h 31"/>
                <a:gd name="T26" fmla="*/ 1 w 51"/>
                <a:gd name="T27" fmla="*/ 11 h 31"/>
                <a:gd name="T28" fmla="*/ 2 w 51"/>
                <a:gd name="T29" fmla="*/ 4 h 31"/>
                <a:gd name="T30" fmla="*/ 13 w 51"/>
                <a:gd name="T31" fmla="*/ 0 h 31"/>
                <a:gd name="T32" fmla="*/ 46 w 51"/>
                <a:gd name="T33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1">
                  <a:moveTo>
                    <a:pt x="39" y="18"/>
                  </a:moveTo>
                  <a:lnTo>
                    <a:pt x="41" y="14"/>
                  </a:lnTo>
                  <a:cubicBezTo>
                    <a:pt x="35" y="11"/>
                    <a:pt x="22" y="9"/>
                    <a:pt x="13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2"/>
                    <a:pt x="11" y="21"/>
                    <a:pt x="26" y="21"/>
                  </a:cubicBezTo>
                  <a:cubicBezTo>
                    <a:pt x="31" y="21"/>
                    <a:pt x="36" y="20"/>
                    <a:pt x="39" y="18"/>
                  </a:cubicBezTo>
                  <a:close/>
                  <a:moveTo>
                    <a:pt x="46" y="6"/>
                  </a:moveTo>
                  <a:cubicBezTo>
                    <a:pt x="47" y="7"/>
                    <a:pt x="48" y="7"/>
                    <a:pt x="50" y="9"/>
                  </a:cubicBezTo>
                  <a:cubicBezTo>
                    <a:pt x="50" y="10"/>
                    <a:pt x="50" y="11"/>
                    <a:pt x="50" y="12"/>
                  </a:cubicBezTo>
                  <a:lnTo>
                    <a:pt x="45" y="23"/>
                  </a:lnTo>
                  <a:cubicBezTo>
                    <a:pt x="45" y="25"/>
                    <a:pt x="44" y="26"/>
                    <a:pt x="43" y="26"/>
                  </a:cubicBezTo>
                  <a:cubicBezTo>
                    <a:pt x="43" y="26"/>
                    <a:pt x="35" y="30"/>
                    <a:pt x="26" y="30"/>
                  </a:cubicBezTo>
                  <a:cubicBezTo>
                    <a:pt x="12" y="30"/>
                    <a:pt x="3" y="23"/>
                    <a:pt x="1" y="11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4" y="1"/>
                    <a:pt x="8" y="0"/>
                    <a:pt x="13" y="0"/>
                  </a:cubicBezTo>
                  <a:cubicBezTo>
                    <a:pt x="26" y="0"/>
                    <a:pt x="46" y="6"/>
                    <a:pt x="46" y="6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4" name="íśľîdé">
              <a:extLst>
                <a:ext uri="{FF2B5EF4-FFF2-40B4-BE49-F238E27FC236}">
                  <a16:creationId xmlns="" xmlns:a16="http://schemas.microsoft.com/office/drawing/2014/main" id="{AB5D1EDE-1AB6-4914-BC45-DBCBA552FA30}"/>
                </a:ext>
              </a:extLst>
            </p:cNvPr>
            <p:cNvSpPr/>
            <p:nvPr/>
          </p:nvSpPr>
          <p:spPr bwMode="auto">
            <a:xfrm>
              <a:off x="844550" y="4816475"/>
              <a:ext cx="42863" cy="12700"/>
            </a:xfrm>
            <a:custGeom>
              <a:avLst/>
              <a:gdLst>
                <a:gd name="T0" fmla="*/ 114 w 118"/>
                <a:gd name="T1" fmla="*/ 27 h 35"/>
                <a:gd name="T2" fmla="*/ 115 w 118"/>
                <a:gd name="T3" fmla="*/ 32 h 35"/>
                <a:gd name="T4" fmla="*/ 112 w 118"/>
                <a:gd name="T5" fmla="*/ 34 h 35"/>
                <a:gd name="T6" fmla="*/ 111 w 118"/>
                <a:gd name="T7" fmla="*/ 33 h 35"/>
                <a:gd name="T8" fmla="*/ 7 w 118"/>
                <a:gd name="T9" fmla="*/ 25 h 35"/>
                <a:gd name="T10" fmla="*/ 1 w 118"/>
                <a:gd name="T11" fmla="*/ 24 h 35"/>
                <a:gd name="T12" fmla="*/ 2 w 118"/>
                <a:gd name="T13" fmla="*/ 19 h 35"/>
                <a:gd name="T14" fmla="*/ 114 w 118"/>
                <a:gd name="T15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35">
                  <a:moveTo>
                    <a:pt x="114" y="27"/>
                  </a:moveTo>
                  <a:cubicBezTo>
                    <a:pt x="117" y="28"/>
                    <a:pt x="117" y="30"/>
                    <a:pt x="115" y="32"/>
                  </a:cubicBezTo>
                  <a:cubicBezTo>
                    <a:pt x="115" y="33"/>
                    <a:pt x="113" y="34"/>
                    <a:pt x="112" y="34"/>
                  </a:cubicBezTo>
                  <a:lnTo>
                    <a:pt x="111" y="33"/>
                  </a:lnTo>
                  <a:cubicBezTo>
                    <a:pt x="86" y="19"/>
                    <a:pt x="31" y="7"/>
                    <a:pt x="7" y="25"/>
                  </a:cubicBezTo>
                  <a:cubicBezTo>
                    <a:pt x="5" y="27"/>
                    <a:pt x="2" y="25"/>
                    <a:pt x="1" y="24"/>
                  </a:cubicBezTo>
                  <a:cubicBezTo>
                    <a:pt x="0" y="22"/>
                    <a:pt x="0" y="20"/>
                    <a:pt x="2" y="19"/>
                  </a:cubicBezTo>
                  <a:cubicBezTo>
                    <a:pt x="31" y="0"/>
                    <a:pt x="88" y="11"/>
                    <a:pt x="114" y="27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5" name="îšľidè">
              <a:extLst>
                <a:ext uri="{FF2B5EF4-FFF2-40B4-BE49-F238E27FC236}">
                  <a16:creationId xmlns="" xmlns:a16="http://schemas.microsoft.com/office/drawing/2014/main" id="{E8F21DC2-B45A-4F60-B272-01AFCA7C1700}"/>
                </a:ext>
              </a:extLst>
            </p:cNvPr>
            <p:cNvSpPr/>
            <p:nvPr/>
          </p:nvSpPr>
          <p:spPr bwMode="auto">
            <a:xfrm>
              <a:off x="839788" y="4838700"/>
              <a:ext cx="42862" cy="19050"/>
            </a:xfrm>
            <a:custGeom>
              <a:avLst/>
              <a:gdLst>
                <a:gd name="T0" fmla="*/ 113 w 117"/>
                <a:gd name="T1" fmla="*/ 6 h 51"/>
                <a:gd name="T2" fmla="*/ 115 w 117"/>
                <a:gd name="T3" fmla="*/ 11 h 51"/>
                <a:gd name="T4" fmla="*/ 111 w 117"/>
                <a:gd name="T5" fmla="*/ 14 h 51"/>
                <a:gd name="T6" fmla="*/ 15 w 117"/>
                <a:gd name="T7" fmla="*/ 44 h 51"/>
                <a:gd name="T8" fmla="*/ 6 w 117"/>
                <a:gd name="T9" fmla="*/ 49 h 51"/>
                <a:gd name="T10" fmla="*/ 5 w 117"/>
                <a:gd name="T11" fmla="*/ 50 h 51"/>
                <a:gd name="T12" fmla="*/ 1 w 117"/>
                <a:gd name="T13" fmla="*/ 48 h 51"/>
                <a:gd name="T14" fmla="*/ 2 w 117"/>
                <a:gd name="T15" fmla="*/ 43 h 51"/>
                <a:gd name="T16" fmla="*/ 10 w 117"/>
                <a:gd name="T17" fmla="*/ 37 h 51"/>
                <a:gd name="T18" fmla="*/ 113 w 117"/>
                <a:gd name="T19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51">
                  <a:moveTo>
                    <a:pt x="113" y="6"/>
                  </a:moveTo>
                  <a:cubicBezTo>
                    <a:pt x="114" y="6"/>
                    <a:pt x="116" y="8"/>
                    <a:pt x="115" y="11"/>
                  </a:cubicBezTo>
                  <a:cubicBezTo>
                    <a:pt x="115" y="13"/>
                    <a:pt x="113" y="14"/>
                    <a:pt x="111" y="14"/>
                  </a:cubicBezTo>
                  <a:cubicBezTo>
                    <a:pt x="80" y="8"/>
                    <a:pt x="43" y="29"/>
                    <a:pt x="15" y="44"/>
                  </a:cubicBezTo>
                  <a:cubicBezTo>
                    <a:pt x="12" y="47"/>
                    <a:pt x="9" y="48"/>
                    <a:pt x="6" y="49"/>
                  </a:cubicBezTo>
                  <a:cubicBezTo>
                    <a:pt x="6" y="50"/>
                    <a:pt x="5" y="50"/>
                    <a:pt x="5" y="50"/>
                  </a:cubicBezTo>
                  <a:cubicBezTo>
                    <a:pt x="2" y="50"/>
                    <a:pt x="1" y="49"/>
                    <a:pt x="1" y="48"/>
                  </a:cubicBezTo>
                  <a:cubicBezTo>
                    <a:pt x="0" y="47"/>
                    <a:pt x="0" y="43"/>
                    <a:pt x="2" y="43"/>
                  </a:cubicBezTo>
                  <a:cubicBezTo>
                    <a:pt x="5" y="41"/>
                    <a:pt x="8" y="40"/>
                    <a:pt x="10" y="37"/>
                  </a:cubicBezTo>
                  <a:cubicBezTo>
                    <a:pt x="41" y="21"/>
                    <a:pt x="79" y="0"/>
                    <a:pt x="113" y="6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6" name="isḷîḍé">
              <a:extLst>
                <a:ext uri="{FF2B5EF4-FFF2-40B4-BE49-F238E27FC236}">
                  <a16:creationId xmlns="" xmlns:a16="http://schemas.microsoft.com/office/drawing/2014/main" id="{95EC581A-9944-41FB-BA4A-EA7E75D4BBFC}"/>
                </a:ext>
              </a:extLst>
            </p:cNvPr>
            <p:cNvSpPr/>
            <p:nvPr/>
          </p:nvSpPr>
          <p:spPr bwMode="auto">
            <a:xfrm>
              <a:off x="908050" y="4741863"/>
              <a:ext cx="11113" cy="23812"/>
            </a:xfrm>
            <a:custGeom>
              <a:avLst/>
              <a:gdLst>
                <a:gd name="T0" fmla="*/ 24 w 31"/>
                <a:gd name="T1" fmla="*/ 50 h 66"/>
                <a:gd name="T2" fmla="*/ 29 w 31"/>
                <a:gd name="T3" fmla="*/ 60 h 66"/>
                <a:gd name="T4" fmla="*/ 26 w 31"/>
                <a:gd name="T5" fmla="*/ 65 h 66"/>
                <a:gd name="T6" fmla="*/ 25 w 31"/>
                <a:gd name="T7" fmla="*/ 65 h 66"/>
                <a:gd name="T8" fmla="*/ 22 w 31"/>
                <a:gd name="T9" fmla="*/ 63 h 66"/>
                <a:gd name="T10" fmla="*/ 17 w 31"/>
                <a:gd name="T11" fmla="*/ 52 h 66"/>
                <a:gd name="T12" fmla="*/ 1 w 31"/>
                <a:gd name="T13" fmla="*/ 5 h 66"/>
                <a:gd name="T14" fmla="*/ 4 w 31"/>
                <a:gd name="T15" fmla="*/ 0 h 66"/>
                <a:gd name="T16" fmla="*/ 9 w 31"/>
                <a:gd name="T17" fmla="*/ 3 h 66"/>
                <a:gd name="T18" fmla="*/ 24 w 31"/>
                <a:gd name="T19" fmla="*/ 5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66">
                  <a:moveTo>
                    <a:pt x="24" y="50"/>
                  </a:moveTo>
                  <a:cubicBezTo>
                    <a:pt x="26" y="53"/>
                    <a:pt x="27" y="57"/>
                    <a:pt x="29" y="60"/>
                  </a:cubicBezTo>
                  <a:cubicBezTo>
                    <a:pt x="30" y="62"/>
                    <a:pt x="29" y="64"/>
                    <a:pt x="26" y="65"/>
                  </a:cubicBezTo>
                  <a:lnTo>
                    <a:pt x="25" y="65"/>
                  </a:lnTo>
                  <a:cubicBezTo>
                    <a:pt x="23" y="65"/>
                    <a:pt x="22" y="64"/>
                    <a:pt x="22" y="63"/>
                  </a:cubicBezTo>
                  <a:cubicBezTo>
                    <a:pt x="19" y="59"/>
                    <a:pt x="18" y="56"/>
                    <a:pt x="17" y="52"/>
                  </a:cubicBezTo>
                  <a:cubicBezTo>
                    <a:pt x="11" y="37"/>
                    <a:pt x="5" y="22"/>
                    <a:pt x="1" y="5"/>
                  </a:cubicBezTo>
                  <a:cubicBezTo>
                    <a:pt x="0" y="3"/>
                    <a:pt x="1" y="1"/>
                    <a:pt x="4" y="0"/>
                  </a:cubicBezTo>
                  <a:cubicBezTo>
                    <a:pt x="6" y="0"/>
                    <a:pt x="9" y="1"/>
                    <a:pt x="9" y="3"/>
                  </a:cubicBezTo>
                  <a:cubicBezTo>
                    <a:pt x="12" y="20"/>
                    <a:pt x="18" y="34"/>
                    <a:pt x="24" y="5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7" name="îśḷíḓé">
              <a:extLst>
                <a:ext uri="{FF2B5EF4-FFF2-40B4-BE49-F238E27FC236}">
                  <a16:creationId xmlns="" xmlns:a16="http://schemas.microsoft.com/office/drawing/2014/main" id="{874BB513-C528-43BA-B960-56876BE9BFD6}"/>
                </a:ext>
              </a:extLst>
            </p:cNvPr>
            <p:cNvSpPr/>
            <p:nvPr/>
          </p:nvSpPr>
          <p:spPr bwMode="auto">
            <a:xfrm>
              <a:off x="1074738" y="4837113"/>
              <a:ext cx="14287" cy="42862"/>
            </a:xfrm>
            <a:custGeom>
              <a:avLst/>
              <a:gdLst>
                <a:gd name="T0" fmla="*/ 8 w 41"/>
                <a:gd name="T1" fmla="*/ 9 h 118"/>
                <a:gd name="T2" fmla="*/ 38 w 41"/>
                <a:gd name="T3" fmla="*/ 110 h 118"/>
                <a:gd name="T4" fmla="*/ 38 w 41"/>
                <a:gd name="T5" fmla="*/ 115 h 118"/>
                <a:gd name="T6" fmla="*/ 36 w 41"/>
                <a:gd name="T7" fmla="*/ 117 h 118"/>
                <a:gd name="T8" fmla="*/ 33 w 41"/>
                <a:gd name="T9" fmla="*/ 115 h 118"/>
                <a:gd name="T10" fmla="*/ 0 w 41"/>
                <a:gd name="T11" fmla="*/ 9 h 118"/>
                <a:gd name="T12" fmla="*/ 0 w 41"/>
                <a:gd name="T13" fmla="*/ 5 h 118"/>
                <a:gd name="T14" fmla="*/ 4 w 41"/>
                <a:gd name="T15" fmla="*/ 0 h 118"/>
                <a:gd name="T16" fmla="*/ 8 w 41"/>
                <a:gd name="T17" fmla="*/ 4 h 118"/>
                <a:gd name="T18" fmla="*/ 8 w 41"/>
                <a:gd name="T19" fmla="*/ 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18">
                  <a:moveTo>
                    <a:pt x="8" y="9"/>
                  </a:moveTo>
                  <a:cubicBezTo>
                    <a:pt x="12" y="39"/>
                    <a:pt x="17" y="87"/>
                    <a:pt x="38" y="110"/>
                  </a:cubicBezTo>
                  <a:cubicBezTo>
                    <a:pt x="40" y="111"/>
                    <a:pt x="40" y="113"/>
                    <a:pt x="38" y="115"/>
                  </a:cubicBezTo>
                  <a:cubicBezTo>
                    <a:pt x="38" y="115"/>
                    <a:pt x="37" y="117"/>
                    <a:pt x="36" y="117"/>
                  </a:cubicBezTo>
                  <a:cubicBezTo>
                    <a:pt x="34" y="117"/>
                    <a:pt x="33" y="115"/>
                    <a:pt x="33" y="115"/>
                  </a:cubicBezTo>
                  <a:cubicBezTo>
                    <a:pt x="11" y="91"/>
                    <a:pt x="5" y="40"/>
                    <a:pt x="0" y="9"/>
                  </a:cubicBezTo>
                  <a:lnTo>
                    <a:pt x="0" y="5"/>
                  </a:lnTo>
                  <a:cubicBezTo>
                    <a:pt x="0" y="2"/>
                    <a:pt x="1" y="1"/>
                    <a:pt x="4" y="0"/>
                  </a:cubicBezTo>
                  <a:cubicBezTo>
                    <a:pt x="6" y="0"/>
                    <a:pt x="7" y="2"/>
                    <a:pt x="8" y="4"/>
                  </a:cubicBezTo>
                  <a:lnTo>
                    <a:pt x="8" y="9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8" name="ísḷíḑe">
              <a:extLst>
                <a:ext uri="{FF2B5EF4-FFF2-40B4-BE49-F238E27FC236}">
                  <a16:creationId xmlns="" xmlns:a16="http://schemas.microsoft.com/office/drawing/2014/main" id="{0B46A5A7-F18E-445F-8EA0-F1FF9E22ADBB}"/>
                </a:ext>
              </a:extLst>
            </p:cNvPr>
            <p:cNvSpPr/>
            <p:nvPr/>
          </p:nvSpPr>
          <p:spPr bwMode="auto">
            <a:xfrm>
              <a:off x="1085850" y="4827588"/>
              <a:ext cx="36513" cy="36512"/>
            </a:xfrm>
            <a:custGeom>
              <a:avLst/>
              <a:gdLst>
                <a:gd name="T0" fmla="*/ 99 w 102"/>
                <a:gd name="T1" fmla="*/ 95 h 103"/>
                <a:gd name="T2" fmla="*/ 101 w 102"/>
                <a:gd name="T3" fmla="*/ 99 h 103"/>
                <a:gd name="T4" fmla="*/ 98 w 102"/>
                <a:gd name="T5" fmla="*/ 102 h 103"/>
                <a:gd name="T6" fmla="*/ 96 w 102"/>
                <a:gd name="T7" fmla="*/ 102 h 103"/>
                <a:gd name="T8" fmla="*/ 1 w 102"/>
                <a:gd name="T9" fmla="*/ 6 h 103"/>
                <a:gd name="T10" fmla="*/ 2 w 102"/>
                <a:gd name="T11" fmla="*/ 2 h 103"/>
                <a:gd name="T12" fmla="*/ 8 w 102"/>
                <a:gd name="T13" fmla="*/ 3 h 103"/>
                <a:gd name="T14" fmla="*/ 99 w 102"/>
                <a:gd name="T15" fmla="*/ 9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103">
                  <a:moveTo>
                    <a:pt x="99" y="95"/>
                  </a:moveTo>
                  <a:cubicBezTo>
                    <a:pt x="101" y="96"/>
                    <a:pt x="101" y="97"/>
                    <a:pt x="101" y="99"/>
                  </a:cubicBezTo>
                  <a:cubicBezTo>
                    <a:pt x="100" y="102"/>
                    <a:pt x="99" y="102"/>
                    <a:pt x="98" y="102"/>
                  </a:cubicBezTo>
                  <a:cubicBezTo>
                    <a:pt x="97" y="102"/>
                    <a:pt x="97" y="102"/>
                    <a:pt x="96" y="102"/>
                  </a:cubicBezTo>
                  <a:cubicBezTo>
                    <a:pt x="64" y="89"/>
                    <a:pt x="16" y="37"/>
                    <a:pt x="1" y="6"/>
                  </a:cubicBezTo>
                  <a:cubicBezTo>
                    <a:pt x="0" y="4"/>
                    <a:pt x="0" y="3"/>
                    <a:pt x="2" y="2"/>
                  </a:cubicBezTo>
                  <a:cubicBezTo>
                    <a:pt x="3" y="2"/>
                    <a:pt x="7" y="0"/>
                    <a:pt x="8" y="3"/>
                  </a:cubicBezTo>
                  <a:cubicBezTo>
                    <a:pt x="22" y="32"/>
                    <a:pt x="68" y="82"/>
                    <a:pt x="99" y="95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9" name="işḷîḍe">
              <a:extLst>
                <a:ext uri="{FF2B5EF4-FFF2-40B4-BE49-F238E27FC236}">
                  <a16:creationId xmlns="" xmlns:a16="http://schemas.microsoft.com/office/drawing/2014/main" id="{1033AFDC-4FF7-4BBE-95E1-B61D4830F5CE}"/>
                </a:ext>
              </a:extLst>
            </p:cNvPr>
            <p:cNvSpPr/>
            <p:nvPr/>
          </p:nvSpPr>
          <p:spPr bwMode="auto">
            <a:xfrm>
              <a:off x="1011238" y="4854575"/>
              <a:ext cx="15875" cy="42863"/>
            </a:xfrm>
            <a:custGeom>
              <a:avLst/>
              <a:gdLst>
                <a:gd name="T0" fmla="*/ 42 w 46"/>
                <a:gd name="T1" fmla="*/ 0 h 118"/>
                <a:gd name="T2" fmla="*/ 44 w 46"/>
                <a:gd name="T3" fmla="*/ 5 h 118"/>
                <a:gd name="T4" fmla="*/ 32 w 46"/>
                <a:gd name="T5" fmla="*/ 36 h 118"/>
                <a:gd name="T6" fmla="*/ 16 w 46"/>
                <a:gd name="T7" fmla="*/ 74 h 118"/>
                <a:gd name="T8" fmla="*/ 14 w 46"/>
                <a:gd name="T9" fmla="*/ 91 h 118"/>
                <a:gd name="T10" fmla="*/ 8 w 46"/>
                <a:gd name="T11" fmla="*/ 113 h 118"/>
                <a:gd name="T12" fmla="*/ 5 w 46"/>
                <a:gd name="T13" fmla="*/ 117 h 118"/>
                <a:gd name="T14" fmla="*/ 3 w 46"/>
                <a:gd name="T15" fmla="*/ 116 h 118"/>
                <a:gd name="T16" fmla="*/ 1 w 46"/>
                <a:gd name="T17" fmla="*/ 111 h 118"/>
                <a:gd name="T18" fmla="*/ 6 w 46"/>
                <a:gd name="T19" fmla="*/ 90 h 118"/>
                <a:gd name="T20" fmla="*/ 9 w 46"/>
                <a:gd name="T21" fmla="*/ 73 h 118"/>
                <a:gd name="T22" fmla="*/ 25 w 46"/>
                <a:gd name="T23" fmla="*/ 32 h 118"/>
                <a:gd name="T24" fmla="*/ 37 w 46"/>
                <a:gd name="T25" fmla="*/ 3 h 118"/>
                <a:gd name="T26" fmla="*/ 42 w 46"/>
                <a:gd name="T2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118">
                  <a:moveTo>
                    <a:pt x="42" y="0"/>
                  </a:moveTo>
                  <a:cubicBezTo>
                    <a:pt x="44" y="1"/>
                    <a:pt x="45" y="4"/>
                    <a:pt x="44" y="5"/>
                  </a:cubicBezTo>
                  <a:cubicBezTo>
                    <a:pt x="41" y="14"/>
                    <a:pt x="36" y="25"/>
                    <a:pt x="32" y="36"/>
                  </a:cubicBezTo>
                  <a:cubicBezTo>
                    <a:pt x="25" y="50"/>
                    <a:pt x="19" y="63"/>
                    <a:pt x="16" y="74"/>
                  </a:cubicBezTo>
                  <a:cubicBezTo>
                    <a:pt x="15" y="80"/>
                    <a:pt x="14" y="85"/>
                    <a:pt x="14" y="91"/>
                  </a:cubicBezTo>
                  <a:cubicBezTo>
                    <a:pt x="12" y="98"/>
                    <a:pt x="11" y="106"/>
                    <a:pt x="8" y="113"/>
                  </a:cubicBezTo>
                  <a:cubicBezTo>
                    <a:pt x="8" y="116"/>
                    <a:pt x="6" y="117"/>
                    <a:pt x="5" y="117"/>
                  </a:cubicBezTo>
                  <a:lnTo>
                    <a:pt x="3" y="116"/>
                  </a:lnTo>
                  <a:cubicBezTo>
                    <a:pt x="1" y="116"/>
                    <a:pt x="0" y="113"/>
                    <a:pt x="1" y="111"/>
                  </a:cubicBezTo>
                  <a:cubicBezTo>
                    <a:pt x="4" y="104"/>
                    <a:pt x="5" y="97"/>
                    <a:pt x="6" y="90"/>
                  </a:cubicBezTo>
                  <a:cubicBezTo>
                    <a:pt x="7" y="84"/>
                    <a:pt x="8" y="78"/>
                    <a:pt x="9" y="73"/>
                  </a:cubicBezTo>
                  <a:cubicBezTo>
                    <a:pt x="12" y="60"/>
                    <a:pt x="18" y="46"/>
                    <a:pt x="25" y="32"/>
                  </a:cubicBezTo>
                  <a:cubicBezTo>
                    <a:pt x="29" y="21"/>
                    <a:pt x="34" y="12"/>
                    <a:pt x="37" y="3"/>
                  </a:cubicBezTo>
                  <a:cubicBezTo>
                    <a:pt x="37" y="0"/>
                    <a:pt x="39" y="0"/>
                    <a:pt x="42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0" name="ïšliḓè">
              <a:extLst>
                <a:ext uri="{FF2B5EF4-FFF2-40B4-BE49-F238E27FC236}">
                  <a16:creationId xmlns="" xmlns:a16="http://schemas.microsoft.com/office/drawing/2014/main" id="{17E78659-9A15-4F5E-80B4-09517807622F}"/>
                </a:ext>
              </a:extLst>
            </p:cNvPr>
            <p:cNvSpPr/>
            <p:nvPr/>
          </p:nvSpPr>
          <p:spPr bwMode="auto">
            <a:xfrm>
              <a:off x="849313" y="4775200"/>
              <a:ext cx="30162" cy="19050"/>
            </a:xfrm>
            <a:custGeom>
              <a:avLst/>
              <a:gdLst>
                <a:gd name="T0" fmla="*/ 76 w 82"/>
                <a:gd name="T1" fmla="*/ 41 h 51"/>
                <a:gd name="T2" fmla="*/ 81 w 82"/>
                <a:gd name="T3" fmla="*/ 44 h 51"/>
                <a:gd name="T4" fmla="*/ 78 w 82"/>
                <a:gd name="T5" fmla="*/ 49 h 51"/>
                <a:gd name="T6" fmla="*/ 67 w 82"/>
                <a:gd name="T7" fmla="*/ 50 h 51"/>
                <a:gd name="T8" fmla="*/ 0 w 82"/>
                <a:gd name="T9" fmla="*/ 5 h 51"/>
                <a:gd name="T10" fmla="*/ 4 w 82"/>
                <a:gd name="T11" fmla="*/ 0 h 51"/>
                <a:gd name="T12" fmla="*/ 9 w 82"/>
                <a:gd name="T13" fmla="*/ 3 h 51"/>
                <a:gd name="T14" fmla="*/ 76 w 82"/>
                <a:gd name="T15" fmla="*/ 4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1">
                  <a:moveTo>
                    <a:pt x="76" y="41"/>
                  </a:moveTo>
                  <a:cubicBezTo>
                    <a:pt x="79" y="41"/>
                    <a:pt x="81" y="43"/>
                    <a:pt x="81" y="44"/>
                  </a:cubicBezTo>
                  <a:cubicBezTo>
                    <a:pt x="81" y="47"/>
                    <a:pt x="80" y="49"/>
                    <a:pt x="78" y="49"/>
                  </a:cubicBezTo>
                  <a:cubicBezTo>
                    <a:pt x="74" y="49"/>
                    <a:pt x="70" y="50"/>
                    <a:pt x="67" y="50"/>
                  </a:cubicBezTo>
                  <a:cubicBezTo>
                    <a:pt x="36" y="50"/>
                    <a:pt x="6" y="36"/>
                    <a:pt x="0" y="5"/>
                  </a:cubicBezTo>
                  <a:cubicBezTo>
                    <a:pt x="0" y="2"/>
                    <a:pt x="2" y="1"/>
                    <a:pt x="4" y="0"/>
                  </a:cubicBezTo>
                  <a:cubicBezTo>
                    <a:pt x="5" y="0"/>
                    <a:pt x="8" y="1"/>
                    <a:pt x="9" y="3"/>
                  </a:cubicBezTo>
                  <a:cubicBezTo>
                    <a:pt x="15" y="36"/>
                    <a:pt x="49" y="44"/>
                    <a:pt x="76" y="4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íṧ1iḍé">
              <a:extLst>
                <a:ext uri="{FF2B5EF4-FFF2-40B4-BE49-F238E27FC236}">
                  <a16:creationId xmlns="" xmlns:a16="http://schemas.microsoft.com/office/drawing/2014/main" id="{049FE571-B214-49D2-B3DB-991170B6AE4F}"/>
                </a:ext>
              </a:extLst>
            </p:cNvPr>
            <p:cNvSpPr/>
            <p:nvPr/>
          </p:nvSpPr>
          <p:spPr bwMode="auto">
            <a:xfrm>
              <a:off x="950913" y="4929188"/>
              <a:ext cx="26987" cy="11112"/>
            </a:xfrm>
            <a:custGeom>
              <a:avLst/>
              <a:gdLst>
                <a:gd name="T0" fmla="*/ 11 w 77"/>
                <a:gd name="T1" fmla="*/ 1 h 31"/>
                <a:gd name="T2" fmla="*/ 73 w 77"/>
                <a:gd name="T3" fmla="*/ 23 h 31"/>
                <a:gd name="T4" fmla="*/ 75 w 77"/>
                <a:gd name="T5" fmla="*/ 27 h 31"/>
                <a:gd name="T6" fmla="*/ 71 w 77"/>
                <a:gd name="T7" fmla="*/ 30 h 31"/>
                <a:gd name="T8" fmla="*/ 69 w 77"/>
                <a:gd name="T9" fmla="*/ 28 h 31"/>
                <a:gd name="T10" fmla="*/ 9 w 77"/>
                <a:gd name="T11" fmla="*/ 8 h 31"/>
                <a:gd name="T12" fmla="*/ 4 w 77"/>
                <a:gd name="T13" fmla="*/ 8 h 31"/>
                <a:gd name="T14" fmla="*/ 0 w 77"/>
                <a:gd name="T15" fmla="*/ 4 h 31"/>
                <a:gd name="T16" fmla="*/ 5 w 77"/>
                <a:gd name="T17" fmla="*/ 0 h 31"/>
                <a:gd name="T18" fmla="*/ 11 w 77"/>
                <a:gd name="T19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31">
                  <a:moveTo>
                    <a:pt x="11" y="1"/>
                  </a:moveTo>
                  <a:cubicBezTo>
                    <a:pt x="34" y="5"/>
                    <a:pt x="55" y="7"/>
                    <a:pt x="73" y="23"/>
                  </a:cubicBezTo>
                  <a:cubicBezTo>
                    <a:pt x="76" y="24"/>
                    <a:pt x="76" y="26"/>
                    <a:pt x="75" y="27"/>
                  </a:cubicBezTo>
                  <a:cubicBezTo>
                    <a:pt x="73" y="28"/>
                    <a:pt x="72" y="30"/>
                    <a:pt x="71" y="30"/>
                  </a:cubicBezTo>
                  <a:cubicBezTo>
                    <a:pt x="71" y="30"/>
                    <a:pt x="70" y="30"/>
                    <a:pt x="69" y="28"/>
                  </a:cubicBezTo>
                  <a:cubicBezTo>
                    <a:pt x="51" y="15"/>
                    <a:pt x="32" y="12"/>
                    <a:pt x="9" y="8"/>
                  </a:cubicBezTo>
                  <a:lnTo>
                    <a:pt x="4" y="8"/>
                  </a:lnTo>
                  <a:cubicBezTo>
                    <a:pt x="1" y="7"/>
                    <a:pt x="0" y="6"/>
                    <a:pt x="0" y="4"/>
                  </a:cubicBezTo>
                  <a:cubicBezTo>
                    <a:pt x="1" y="1"/>
                    <a:pt x="2" y="0"/>
                    <a:pt x="5" y="0"/>
                  </a:cubicBezTo>
                  <a:lnTo>
                    <a:pt x="11" y="1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íṩḻîḓè">
              <a:extLst>
                <a:ext uri="{FF2B5EF4-FFF2-40B4-BE49-F238E27FC236}">
                  <a16:creationId xmlns="" xmlns:a16="http://schemas.microsoft.com/office/drawing/2014/main" id="{FC12A63A-A53B-4AD6-8CD2-DABFD97B943D}"/>
                </a:ext>
              </a:extLst>
            </p:cNvPr>
            <p:cNvSpPr/>
            <p:nvPr/>
          </p:nvSpPr>
          <p:spPr bwMode="auto">
            <a:xfrm>
              <a:off x="1295400" y="5060950"/>
              <a:ext cx="104775" cy="123825"/>
            </a:xfrm>
            <a:custGeom>
              <a:avLst/>
              <a:gdLst>
                <a:gd name="T0" fmla="*/ 216 w 292"/>
                <a:gd name="T1" fmla="*/ 0 h 343"/>
                <a:gd name="T2" fmla="*/ 286 w 292"/>
                <a:gd name="T3" fmla="*/ 88 h 343"/>
                <a:gd name="T4" fmla="*/ 205 w 292"/>
                <a:gd name="T5" fmla="*/ 159 h 343"/>
                <a:gd name="T6" fmla="*/ 148 w 292"/>
                <a:gd name="T7" fmla="*/ 282 h 343"/>
                <a:gd name="T8" fmla="*/ 21 w 292"/>
                <a:gd name="T9" fmla="*/ 337 h 343"/>
                <a:gd name="T10" fmla="*/ 0 w 292"/>
                <a:gd name="T11" fmla="*/ 292 h 343"/>
                <a:gd name="T12" fmla="*/ 28 w 292"/>
                <a:gd name="T13" fmla="*/ 167 h 343"/>
                <a:gd name="T14" fmla="*/ 148 w 292"/>
                <a:gd name="T15" fmla="*/ 71 h 343"/>
                <a:gd name="T16" fmla="*/ 216 w 292"/>
                <a:gd name="T1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2" h="343">
                  <a:moveTo>
                    <a:pt x="216" y="0"/>
                  </a:moveTo>
                  <a:cubicBezTo>
                    <a:pt x="216" y="0"/>
                    <a:pt x="291" y="67"/>
                    <a:pt x="286" y="88"/>
                  </a:cubicBezTo>
                  <a:cubicBezTo>
                    <a:pt x="280" y="109"/>
                    <a:pt x="205" y="159"/>
                    <a:pt x="205" y="159"/>
                  </a:cubicBezTo>
                  <a:cubicBezTo>
                    <a:pt x="205" y="159"/>
                    <a:pt x="167" y="279"/>
                    <a:pt x="148" y="282"/>
                  </a:cubicBezTo>
                  <a:cubicBezTo>
                    <a:pt x="104" y="287"/>
                    <a:pt x="33" y="342"/>
                    <a:pt x="21" y="337"/>
                  </a:cubicBezTo>
                  <a:cubicBezTo>
                    <a:pt x="7" y="331"/>
                    <a:pt x="0" y="292"/>
                    <a:pt x="0" y="292"/>
                  </a:cubicBezTo>
                  <a:cubicBezTo>
                    <a:pt x="0" y="292"/>
                    <a:pt x="20" y="177"/>
                    <a:pt x="28" y="167"/>
                  </a:cubicBezTo>
                  <a:cubicBezTo>
                    <a:pt x="65" y="117"/>
                    <a:pt x="133" y="77"/>
                    <a:pt x="148" y="71"/>
                  </a:cubicBezTo>
                  <a:cubicBezTo>
                    <a:pt x="164" y="62"/>
                    <a:pt x="216" y="0"/>
                    <a:pt x="216" y="0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işľïḋe">
              <a:extLst>
                <a:ext uri="{FF2B5EF4-FFF2-40B4-BE49-F238E27FC236}">
                  <a16:creationId xmlns="" xmlns:a16="http://schemas.microsoft.com/office/drawing/2014/main" id="{2376899C-D49D-4556-95BA-337B4EBA9072}"/>
                </a:ext>
              </a:extLst>
            </p:cNvPr>
            <p:cNvSpPr/>
            <p:nvPr/>
          </p:nvSpPr>
          <p:spPr bwMode="auto">
            <a:xfrm>
              <a:off x="1293813" y="5059363"/>
              <a:ext cx="107950" cy="125412"/>
            </a:xfrm>
            <a:custGeom>
              <a:avLst/>
              <a:gdLst>
                <a:gd name="T0" fmla="*/ 287 w 302"/>
                <a:gd name="T1" fmla="*/ 93 h 348"/>
                <a:gd name="T2" fmla="*/ 221 w 302"/>
                <a:gd name="T3" fmla="*/ 10 h 348"/>
                <a:gd name="T4" fmla="*/ 155 w 302"/>
                <a:gd name="T5" fmla="*/ 79 h 348"/>
                <a:gd name="T6" fmla="*/ 36 w 302"/>
                <a:gd name="T7" fmla="*/ 174 h 348"/>
                <a:gd name="T8" fmla="*/ 8 w 302"/>
                <a:gd name="T9" fmla="*/ 298 h 348"/>
                <a:gd name="T10" fmla="*/ 26 w 302"/>
                <a:gd name="T11" fmla="*/ 340 h 348"/>
                <a:gd name="T12" fmla="*/ 67 w 302"/>
                <a:gd name="T13" fmla="*/ 320 h 348"/>
                <a:gd name="T14" fmla="*/ 153 w 302"/>
                <a:gd name="T15" fmla="*/ 284 h 348"/>
                <a:gd name="T16" fmla="*/ 207 w 302"/>
                <a:gd name="T17" fmla="*/ 163 h 348"/>
                <a:gd name="T18" fmla="*/ 208 w 302"/>
                <a:gd name="T19" fmla="*/ 162 h 348"/>
                <a:gd name="T20" fmla="*/ 287 w 302"/>
                <a:gd name="T21" fmla="*/ 93 h 348"/>
                <a:gd name="T22" fmla="*/ 223 w 302"/>
                <a:gd name="T23" fmla="*/ 1 h 348"/>
                <a:gd name="T24" fmla="*/ 295 w 302"/>
                <a:gd name="T25" fmla="*/ 94 h 348"/>
                <a:gd name="T26" fmla="*/ 214 w 302"/>
                <a:gd name="T27" fmla="*/ 167 h 348"/>
                <a:gd name="T28" fmla="*/ 154 w 302"/>
                <a:gd name="T29" fmla="*/ 292 h 348"/>
                <a:gd name="T30" fmla="*/ 70 w 302"/>
                <a:gd name="T31" fmla="*/ 327 h 348"/>
                <a:gd name="T32" fmla="*/ 26 w 302"/>
                <a:gd name="T33" fmla="*/ 347 h 348"/>
                <a:gd name="T34" fmla="*/ 23 w 302"/>
                <a:gd name="T35" fmla="*/ 347 h 348"/>
                <a:gd name="T36" fmla="*/ 0 w 302"/>
                <a:gd name="T37" fmla="*/ 299 h 348"/>
                <a:gd name="T38" fmla="*/ 0 w 302"/>
                <a:gd name="T39" fmla="*/ 298 h 348"/>
                <a:gd name="T40" fmla="*/ 30 w 302"/>
                <a:gd name="T41" fmla="*/ 169 h 348"/>
                <a:gd name="T42" fmla="*/ 151 w 302"/>
                <a:gd name="T43" fmla="*/ 72 h 348"/>
                <a:gd name="T44" fmla="*/ 217 w 302"/>
                <a:gd name="T45" fmla="*/ 2 h 348"/>
                <a:gd name="T46" fmla="*/ 221 w 302"/>
                <a:gd name="T47" fmla="*/ 0 h 348"/>
                <a:gd name="T48" fmla="*/ 223 w 302"/>
                <a:gd name="T49" fmla="*/ 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2" h="348">
                  <a:moveTo>
                    <a:pt x="287" y="93"/>
                  </a:moveTo>
                  <a:cubicBezTo>
                    <a:pt x="290" y="79"/>
                    <a:pt x="250" y="36"/>
                    <a:pt x="221" y="10"/>
                  </a:cubicBezTo>
                  <a:cubicBezTo>
                    <a:pt x="209" y="24"/>
                    <a:pt x="169" y="71"/>
                    <a:pt x="155" y="79"/>
                  </a:cubicBezTo>
                  <a:cubicBezTo>
                    <a:pt x="135" y="88"/>
                    <a:pt x="70" y="128"/>
                    <a:pt x="36" y="174"/>
                  </a:cubicBezTo>
                  <a:cubicBezTo>
                    <a:pt x="30" y="181"/>
                    <a:pt x="16" y="254"/>
                    <a:pt x="8" y="298"/>
                  </a:cubicBezTo>
                  <a:cubicBezTo>
                    <a:pt x="11" y="313"/>
                    <a:pt x="18" y="336"/>
                    <a:pt x="26" y="340"/>
                  </a:cubicBezTo>
                  <a:cubicBezTo>
                    <a:pt x="33" y="340"/>
                    <a:pt x="50" y="330"/>
                    <a:pt x="67" y="320"/>
                  </a:cubicBezTo>
                  <a:cubicBezTo>
                    <a:pt x="94" y="306"/>
                    <a:pt x="127" y="287"/>
                    <a:pt x="153" y="284"/>
                  </a:cubicBezTo>
                  <a:cubicBezTo>
                    <a:pt x="163" y="283"/>
                    <a:pt x="188" y="220"/>
                    <a:pt x="207" y="163"/>
                  </a:cubicBezTo>
                  <a:cubicBezTo>
                    <a:pt x="207" y="163"/>
                    <a:pt x="207" y="162"/>
                    <a:pt x="208" y="162"/>
                  </a:cubicBezTo>
                  <a:cubicBezTo>
                    <a:pt x="238" y="142"/>
                    <a:pt x="283" y="107"/>
                    <a:pt x="287" y="93"/>
                  </a:cubicBezTo>
                  <a:close/>
                  <a:moveTo>
                    <a:pt x="223" y="1"/>
                  </a:moveTo>
                  <a:cubicBezTo>
                    <a:pt x="236" y="12"/>
                    <a:pt x="301" y="72"/>
                    <a:pt x="295" y="94"/>
                  </a:cubicBezTo>
                  <a:cubicBezTo>
                    <a:pt x="289" y="115"/>
                    <a:pt x="226" y="159"/>
                    <a:pt x="214" y="167"/>
                  </a:cubicBezTo>
                  <a:cubicBezTo>
                    <a:pt x="204" y="198"/>
                    <a:pt x="173" y="290"/>
                    <a:pt x="154" y="292"/>
                  </a:cubicBezTo>
                  <a:cubicBezTo>
                    <a:pt x="129" y="294"/>
                    <a:pt x="97" y="313"/>
                    <a:pt x="70" y="327"/>
                  </a:cubicBezTo>
                  <a:cubicBezTo>
                    <a:pt x="48" y="340"/>
                    <a:pt x="35" y="347"/>
                    <a:pt x="26" y="347"/>
                  </a:cubicBezTo>
                  <a:cubicBezTo>
                    <a:pt x="25" y="347"/>
                    <a:pt x="24" y="347"/>
                    <a:pt x="23" y="347"/>
                  </a:cubicBezTo>
                  <a:cubicBezTo>
                    <a:pt x="9" y="341"/>
                    <a:pt x="1" y="304"/>
                    <a:pt x="0" y="299"/>
                  </a:cubicBezTo>
                  <a:lnTo>
                    <a:pt x="0" y="298"/>
                  </a:lnTo>
                  <a:cubicBezTo>
                    <a:pt x="2" y="286"/>
                    <a:pt x="21" y="181"/>
                    <a:pt x="30" y="169"/>
                  </a:cubicBezTo>
                  <a:cubicBezTo>
                    <a:pt x="65" y="122"/>
                    <a:pt x="131" y="81"/>
                    <a:pt x="151" y="72"/>
                  </a:cubicBezTo>
                  <a:cubicBezTo>
                    <a:pt x="163" y="65"/>
                    <a:pt x="204" y="19"/>
                    <a:pt x="217" y="2"/>
                  </a:cubicBezTo>
                  <a:cubicBezTo>
                    <a:pt x="219" y="1"/>
                    <a:pt x="220" y="1"/>
                    <a:pt x="221" y="0"/>
                  </a:cubicBezTo>
                  <a:cubicBezTo>
                    <a:pt x="222" y="0"/>
                    <a:pt x="222" y="1"/>
                    <a:pt x="223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4" name="ïṡlíde">
              <a:extLst>
                <a:ext uri="{FF2B5EF4-FFF2-40B4-BE49-F238E27FC236}">
                  <a16:creationId xmlns="" xmlns:a16="http://schemas.microsoft.com/office/drawing/2014/main" id="{EAB81A72-7D21-40B0-A8B2-274A06B9C48E}"/>
                </a:ext>
              </a:extLst>
            </p:cNvPr>
            <p:cNvSpPr/>
            <p:nvPr/>
          </p:nvSpPr>
          <p:spPr bwMode="auto">
            <a:xfrm>
              <a:off x="1116013" y="5014913"/>
              <a:ext cx="49212" cy="131762"/>
            </a:xfrm>
            <a:custGeom>
              <a:avLst/>
              <a:gdLst>
                <a:gd name="T0" fmla="*/ 31 w 138"/>
                <a:gd name="T1" fmla="*/ 0 h 368"/>
                <a:gd name="T2" fmla="*/ 129 w 138"/>
                <a:gd name="T3" fmla="*/ 16 h 368"/>
                <a:gd name="T4" fmla="*/ 137 w 138"/>
                <a:gd name="T5" fmla="*/ 110 h 368"/>
                <a:gd name="T6" fmla="*/ 117 w 138"/>
                <a:gd name="T7" fmla="*/ 357 h 368"/>
                <a:gd name="T8" fmla="*/ 68 w 138"/>
                <a:gd name="T9" fmla="*/ 347 h 368"/>
                <a:gd name="T10" fmla="*/ 39 w 138"/>
                <a:gd name="T11" fmla="*/ 276 h 368"/>
                <a:gd name="T12" fmla="*/ 14 w 138"/>
                <a:gd name="T13" fmla="*/ 259 h 368"/>
                <a:gd name="T14" fmla="*/ 24 w 138"/>
                <a:gd name="T15" fmla="*/ 206 h 368"/>
                <a:gd name="T16" fmla="*/ 41 w 138"/>
                <a:gd name="T17" fmla="*/ 101 h 368"/>
                <a:gd name="T18" fmla="*/ 31 w 138"/>
                <a:gd name="T1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368">
                  <a:moveTo>
                    <a:pt x="31" y="0"/>
                  </a:moveTo>
                  <a:lnTo>
                    <a:pt x="129" y="16"/>
                  </a:lnTo>
                  <a:cubicBezTo>
                    <a:pt x="129" y="16"/>
                    <a:pt x="137" y="99"/>
                    <a:pt x="137" y="110"/>
                  </a:cubicBezTo>
                  <a:cubicBezTo>
                    <a:pt x="137" y="120"/>
                    <a:pt x="121" y="347"/>
                    <a:pt x="117" y="357"/>
                  </a:cubicBezTo>
                  <a:cubicBezTo>
                    <a:pt x="111" y="367"/>
                    <a:pt x="76" y="350"/>
                    <a:pt x="68" y="347"/>
                  </a:cubicBezTo>
                  <a:cubicBezTo>
                    <a:pt x="60" y="344"/>
                    <a:pt x="39" y="276"/>
                    <a:pt x="39" y="276"/>
                  </a:cubicBezTo>
                  <a:cubicBezTo>
                    <a:pt x="39" y="276"/>
                    <a:pt x="26" y="266"/>
                    <a:pt x="14" y="259"/>
                  </a:cubicBezTo>
                  <a:cubicBezTo>
                    <a:pt x="0" y="251"/>
                    <a:pt x="24" y="206"/>
                    <a:pt x="24" y="206"/>
                  </a:cubicBezTo>
                  <a:lnTo>
                    <a:pt x="41" y="101"/>
                  </a:lnTo>
                  <a:lnTo>
                    <a:pt x="31" y="0"/>
                  </a:ln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5" name="îṩḷîḓé">
              <a:extLst>
                <a:ext uri="{FF2B5EF4-FFF2-40B4-BE49-F238E27FC236}">
                  <a16:creationId xmlns="" xmlns:a16="http://schemas.microsoft.com/office/drawing/2014/main" id="{06BD2448-E6FF-4FB1-AD8C-E35A9BFF3F64}"/>
                </a:ext>
              </a:extLst>
            </p:cNvPr>
            <p:cNvSpPr/>
            <p:nvPr/>
          </p:nvSpPr>
          <p:spPr bwMode="auto">
            <a:xfrm>
              <a:off x="1114425" y="5013325"/>
              <a:ext cx="53975" cy="131763"/>
            </a:xfrm>
            <a:custGeom>
              <a:avLst/>
              <a:gdLst>
                <a:gd name="T0" fmla="*/ 119 w 148"/>
                <a:gd name="T1" fmla="*/ 359 h 368"/>
                <a:gd name="T2" fmla="*/ 139 w 148"/>
                <a:gd name="T3" fmla="*/ 113 h 368"/>
                <a:gd name="T4" fmla="*/ 132 w 148"/>
                <a:gd name="T5" fmla="*/ 23 h 368"/>
                <a:gd name="T6" fmla="*/ 40 w 148"/>
                <a:gd name="T7" fmla="*/ 8 h 368"/>
                <a:gd name="T8" fmla="*/ 50 w 148"/>
                <a:gd name="T9" fmla="*/ 105 h 368"/>
                <a:gd name="T10" fmla="*/ 50 w 148"/>
                <a:gd name="T11" fmla="*/ 106 h 368"/>
                <a:gd name="T12" fmla="*/ 32 w 148"/>
                <a:gd name="T13" fmla="*/ 210 h 368"/>
                <a:gd name="T14" fmla="*/ 32 w 148"/>
                <a:gd name="T15" fmla="*/ 211 h 368"/>
                <a:gd name="T16" fmla="*/ 19 w 148"/>
                <a:gd name="T17" fmla="*/ 259 h 368"/>
                <a:gd name="T18" fmla="*/ 46 w 148"/>
                <a:gd name="T19" fmla="*/ 277 h 368"/>
                <a:gd name="T20" fmla="*/ 47 w 148"/>
                <a:gd name="T21" fmla="*/ 278 h 368"/>
                <a:gd name="T22" fmla="*/ 74 w 148"/>
                <a:gd name="T23" fmla="*/ 346 h 368"/>
                <a:gd name="T24" fmla="*/ 81 w 148"/>
                <a:gd name="T25" fmla="*/ 350 h 368"/>
                <a:gd name="T26" fmla="*/ 116 w 148"/>
                <a:gd name="T27" fmla="*/ 360 h 368"/>
                <a:gd name="T28" fmla="*/ 119 w 148"/>
                <a:gd name="T29" fmla="*/ 359 h 368"/>
                <a:gd name="T30" fmla="*/ 137 w 148"/>
                <a:gd name="T31" fmla="*/ 15 h 368"/>
                <a:gd name="T32" fmla="*/ 139 w 148"/>
                <a:gd name="T33" fmla="*/ 19 h 368"/>
                <a:gd name="T34" fmla="*/ 147 w 148"/>
                <a:gd name="T35" fmla="*/ 113 h 368"/>
                <a:gd name="T36" fmla="*/ 126 w 148"/>
                <a:gd name="T37" fmla="*/ 363 h 368"/>
                <a:gd name="T38" fmla="*/ 115 w 148"/>
                <a:gd name="T39" fmla="*/ 367 h 368"/>
                <a:gd name="T40" fmla="*/ 78 w 148"/>
                <a:gd name="T41" fmla="*/ 357 h 368"/>
                <a:gd name="T42" fmla="*/ 71 w 148"/>
                <a:gd name="T43" fmla="*/ 353 h 368"/>
                <a:gd name="T44" fmla="*/ 40 w 148"/>
                <a:gd name="T45" fmla="*/ 282 h 368"/>
                <a:gd name="T46" fmla="*/ 15 w 148"/>
                <a:gd name="T47" fmla="*/ 264 h 368"/>
                <a:gd name="T48" fmla="*/ 23 w 148"/>
                <a:gd name="T49" fmla="*/ 208 h 368"/>
                <a:gd name="T50" fmla="*/ 42 w 148"/>
                <a:gd name="T51" fmla="*/ 105 h 368"/>
                <a:gd name="T52" fmla="*/ 32 w 148"/>
                <a:gd name="T53" fmla="*/ 4 h 368"/>
                <a:gd name="T54" fmla="*/ 33 w 148"/>
                <a:gd name="T55" fmla="*/ 1 h 368"/>
                <a:gd name="T56" fmla="*/ 36 w 148"/>
                <a:gd name="T57" fmla="*/ 0 h 368"/>
                <a:gd name="T58" fmla="*/ 137 w 148"/>
                <a:gd name="T59" fmla="*/ 1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8" h="368">
                  <a:moveTo>
                    <a:pt x="119" y="359"/>
                  </a:moveTo>
                  <a:cubicBezTo>
                    <a:pt x="124" y="348"/>
                    <a:pt x="139" y="126"/>
                    <a:pt x="139" y="113"/>
                  </a:cubicBezTo>
                  <a:cubicBezTo>
                    <a:pt x="139" y="104"/>
                    <a:pt x="133" y="38"/>
                    <a:pt x="132" y="23"/>
                  </a:cubicBezTo>
                  <a:lnTo>
                    <a:pt x="40" y="8"/>
                  </a:lnTo>
                  <a:lnTo>
                    <a:pt x="50" y="105"/>
                  </a:lnTo>
                  <a:lnTo>
                    <a:pt x="50" y="106"/>
                  </a:lnTo>
                  <a:lnTo>
                    <a:pt x="32" y="210"/>
                  </a:lnTo>
                  <a:lnTo>
                    <a:pt x="32" y="211"/>
                  </a:lnTo>
                  <a:cubicBezTo>
                    <a:pt x="20" y="231"/>
                    <a:pt x="13" y="255"/>
                    <a:pt x="19" y="259"/>
                  </a:cubicBezTo>
                  <a:cubicBezTo>
                    <a:pt x="33" y="267"/>
                    <a:pt x="46" y="276"/>
                    <a:pt x="46" y="277"/>
                  </a:cubicBezTo>
                  <a:cubicBezTo>
                    <a:pt x="47" y="277"/>
                    <a:pt x="47" y="278"/>
                    <a:pt x="47" y="278"/>
                  </a:cubicBezTo>
                  <a:cubicBezTo>
                    <a:pt x="56" y="308"/>
                    <a:pt x="69" y="343"/>
                    <a:pt x="74" y="346"/>
                  </a:cubicBezTo>
                  <a:cubicBezTo>
                    <a:pt x="76" y="348"/>
                    <a:pt x="78" y="349"/>
                    <a:pt x="81" y="350"/>
                  </a:cubicBezTo>
                  <a:cubicBezTo>
                    <a:pt x="90" y="353"/>
                    <a:pt x="106" y="360"/>
                    <a:pt x="116" y="360"/>
                  </a:cubicBezTo>
                  <a:cubicBezTo>
                    <a:pt x="117" y="360"/>
                    <a:pt x="119" y="359"/>
                    <a:pt x="119" y="359"/>
                  </a:cubicBezTo>
                  <a:close/>
                  <a:moveTo>
                    <a:pt x="137" y="15"/>
                  </a:moveTo>
                  <a:cubicBezTo>
                    <a:pt x="138" y="16"/>
                    <a:pt x="139" y="17"/>
                    <a:pt x="139" y="19"/>
                  </a:cubicBezTo>
                  <a:cubicBezTo>
                    <a:pt x="140" y="22"/>
                    <a:pt x="147" y="102"/>
                    <a:pt x="147" y="113"/>
                  </a:cubicBezTo>
                  <a:cubicBezTo>
                    <a:pt x="147" y="115"/>
                    <a:pt x="132" y="350"/>
                    <a:pt x="126" y="363"/>
                  </a:cubicBezTo>
                  <a:cubicBezTo>
                    <a:pt x="125" y="365"/>
                    <a:pt x="122" y="367"/>
                    <a:pt x="115" y="367"/>
                  </a:cubicBezTo>
                  <a:cubicBezTo>
                    <a:pt x="105" y="367"/>
                    <a:pt x="89" y="361"/>
                    <a:pt x="78" y="357"/>
                  </a:cubicBezTo>
                  <a:cubicBezTo>
                    <a:pt x="75" y="356"/>
                    <a:pt x="72" y="354"/>
                    <a:pt x="71" y="353"/>
                  </a:cubicBezTo>
                  <a:cubicBezTo>
                    <a:pt x="63" y="351"/>
                    <a:pt x="50" y="314"/>
                    <a:pt x="40" y="282"/>
                  </a:cubicBezTo>
                  <a:cubicBezTo>
                    <a:pt x="36" y="279"/>
                    <a:pt x="26" y="271"/>
                    <a:pt x="15" y="264"/>
                  </a:cubicBezTo>
                  <a:cubicBezTo>
                    <a:pt x="0" y="256"/>
                    <a:pt x="18" y="220"/>
                    <a:pt x="23" y="208"/>
                  </a:cubicBezTo>
                  <a:lnTo>
                    <a:pt x="42" y="105"/>
                  </a:lnTo>
                  <a:lnTo>
                    <a:pt x="32" y="4"/>
                  </a:lnTo>
                  <a:cubicBezTo>
                    <a:pt x="32" y="3"/>
                    <a:pt x="32" y="2"/>
                    <a:pt x="33" y="1"/>
                  </a:cubicBezTo>
                  <a:cubicBezTo>
                    <a:pt x="34" y="0"/>
                    <a:pt x="35" y="0"/>
                    <a:pt x="36" y="0"/>
                  </a:cubicBezTo>
                  <a:lnTo>
                    <a:pt x="137" y="15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6" name="íṩļidê">
              <a:extLst>
                <a:ext uri="{FF2B5EF4-FFF2-40B4-BE49-F238E27FC236}">
                  <a16:creationId xmlns="" xmlns:a16="http://schemas.microsoft.com/office/drawing/2014/main" id="{777191C7-F2CB-4533-83BD-FF3F99248236}"/>
                </a:ext>
              </a:extLst>
            </p:cNvPr>
            <p:cNvSpPr/>
            <p:nvPr/>
          </p:nvSpPr>
          <p:spPr bwMode="auto">
            <a:xfrm>
              <a:off x="1133475" y="5080000"/>
              <a:ext cx="174625" cy="214313"/>
            </a:xfrm>
            <a:custGeom>
              <a:avLst/>
              <a:gdLst>
                <a:gd name="T0" fmla="*/ 446 w 487"/>
                <a:gd name="T1" fmla="*/ 66 h 594"/>
                <a:gd name="T2" fmla="*/ 481 w 487"/>
                <a:gd name="T3" fmla="*/ 118 h 594"/>
                <a:gd name="T4" fmla="*/ 392 w 487"/>
                <a:gd name="T5" fmla="*/ 555 h 594"/>
                <a:gd name="T6" fmla="*/ 338 w 487"/>
                <a:gd name="T7" fmla="*/ 588 h 594"/>
                <a:gd name="T8" fmla="*/ 40 w 487"/>
                <a:gd name="T9" fmla="*/ 527 h 594"/>
                <a:gd name="T10" fmla="*/ 5 w 487"/>
                <a:gd name="T11" fmla="*/ 476 h 594"/>
                <a:gd name="T12" fmla="*/ 95 w 487"/>
                <a:gd name="T13" fmla="*/ 38 h 594"/>
                <a:gd name="T14" fmla="*/ 148 w 487"/>
                <a:gd name="T15" fmla="*/ 5 h 594"/>
                <a:gd name="T16" fmla="*/ 446 w 487"/>
                <a:gd name="T17" fmla="*/ 66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7" h="594">
                  <a:moveTo>
                    <a:pt x="446" y="66"/>
                  </a:moveTo>
                  <a:cubicBezTo>
                    <a:pt x="470" y="71"/>
                    <a:pt x="486" y="94"/>
                    <a:pt x="481" y="118"/>
                  </a:cubicBezTo>
                  <a:lnTo>
                    <a:pt x="392" y="555"/>
                  </a:lnTo>
                  <a:cubicBezTo>
                    <a:pt x="386" y="578"/>
                    <a:pt x="362" y="593"/>
                    <a:pt x="338" y="588"/>
                  </a:cubicBezTo>
                  <a:lnTo>
                    <a:pt x="40" y="527"/>
                  </a:lnTo>
                  <a:cubicBezTo>
                    <a:pt x="15" y="522"/>
                    <a:pt x="0" y="499"/>
                    <a:pt x="5" y="476"/>
                  </a:cubicBezTo>
                  <a:lnTo>
                    <a:pt x="95" y="38"/>
                  </a:lnTo>
                  <a:cubicBezTo>
                    <a:pt x="100" y="15"/>
                    <a:pt x="123" y="0"/>
                    <a:pt x="148" y="5"/>
                  </a:cubicBezTo>
                  <a:lnTo>
                    <a:pt x="446" y="66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7" name="îśḷiďe">
              <a:extLst>
                <a:ext uri="{FF2B5EF4-FFF2-40B4-BE49-F238E27FC236}">
                  <a16:creationId xmlns="" xmlns:a16="http://schemas.microsoft.com/office/drawing/2014/main" id="{1AAF58E7-BCAC-4FBE-BE0C-82A8516135C6}"/>
                </a:ext>
              </a:extLst>
            </p:cNvPr>
            <p:cNvSpPr/>
            <p:nvPr/>
          </p:nvSpPr>
          <p:spPr bwMode="auto">
            <a:xfrm>
              <a:off x="1131888" y="5080000"/>
              <a:ext cx="177800" cy="214313"/>
            </a:xfrm>
            <a:custGeom>
              <a:avLst/>
              <a:gdLst>
                <a:gd name="T0" fmla="*/ 478 w 492"/>
                <a:gd name="T1" fmla="*/ 117 h 594"/>
                <a:gd name="T2" fmla="*/ 445 w 492"/>
                <a:gd name="T3" fmla="*/ 69 h 594"/>
                <a:gd name="T4" fmla="*/ 148 w 492"/>
                <a:gd name="T5" fmla="*/ 8 h 594"/>
                <a:gd name="T6" fmla="*/ 140 w 492"/>
                <a:gd name="T7" fmla="*/ 8 h 594"/>
                <a:gd name="T8" fmla="*/ 101 w 492"/>
                <a:gd name="T9" fmla="*/ 39 h 594"/>
                <a:gd name="T10" fmla="*/ 10 w 492"/>
                <a:gd name="T11" fmla="*/ 476 h 594"/>
                <a:gd name="T12" fmla="*/ 16 w 492"/>
                <a:gd name="T13" fmla="*/ 506 h 594"/>
                <a:gd name="T14" fmla="*/ 43 w 492"/>
                <a:gd name="T15" fmla="*/ 523 h 594"/>
                <a:gd name="T16" fmla="*/ 340 w 492"/>
                <a:gd name="T17" fmla="*/ 585 h 594"/>
                <a:gd name="T18" fmla="*/ 348 w 492"/>
                <a:gd name="T19" fmla="*/ 586 h 594"/>
                <a:gd name="T20" fmla="*/ 388 w 492"/>
                <a:gd name="T21" fmla="*/ 554 h 594"/>
                <a:gd name="T22" fmla="*/ 478 w 492"/>
                <a:gd name="T23" fmla="*/ 117 h 594"/>
                <a:gd name="T24" fmla="*/ 448 w 492"/>
                <a:gd name="T25" fmla="*/ 63 h 594"/>
                <a:gd name="T26" fmla="*/ 486 w 492"/>
                <a:gd name="T27" fmla="*/ 118 h 594"/>
                <a:gd name="T28" fmla="*/ 396 w 492"/>
                <a:gd name="T29" fmla="*/ 556 h 594"/>
                <a:gd name="T30" fmla="*/ 348 w 492"/>
                <a:gd name="T31" fmla="*/ 593 h 594"/>
                <a:gd name="T32" fmla="*/ 338 w 492"/>
                <a:gd name="T33" fmla="*/ 592 h 594"/>
                <a:gd name="T34" fmla="*/ 42 w 492"/>
                <a:gd name="T35" fmla="*/ 532 h 594"/>
                <a:gd name="T36" fmla="*/ 10 w 492"/>
                <a:gd name="T37" fmla="*/ 511 h 594"/>
                <a:gd name="T38" fmla="*/ 4 w 492"/>
                <a:gd name="T39" fmla="*/ 475 h 594"/>
                <a:gd name="T40" fmla="*/ 93 w 492"/>
                <a:gd name="T41" fmla="*/ 37 h 594"/>
                <a:gd name="T42" fmla="*/ 140 w 492"/>
                <a:gd name="T43" fmla="*/ 0 h 594"/>
                <a:gd name="T44" fmla="*/ 150 w 492"/>
                <a:gd name="T45" fmla="*/ 1 h 594"/>
                <a:gd name="T46" fmla="*/ 448 w 492"/>
                <a:gd name="T47" fmla="*/ 63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92" h="594">
                  <a:moveTo>
                    <a:pt x="478" y="117"/>
                  </a:moveTo>
                  <a:cubicBezTo>
                    <a:pt x="482" y="95"/>
                    <a:pt x="467" y="74"/>
                    <a:pt x="445" y="69"/>
                  </a:cubicBezTo>
                  <a:lnTo>
                    <a:pt x="148" y="8"/>
                  </a:lnTo>
                  <a:cubicBezTo>
                    <a:pt x="146" y="8"/>
                    <a:pt x="144" y="8"/>
                    <a:pt x="140" y="8"/>
                  </a:cubicBezTo>
                  <a:cubicBezTo>
                    <a:pt x="122" y="8"/>
                    <a:pt x="104" y="21"/>
                    <a:pt x="101" y="39"/>
                  </a:cubicBezTo>
                  <a:lnTo>
                    <a:pt x="10" y="476"/>
                  </a:lnTo>
                  <a:cubicBezTo>
                    <a:pt x="8" y="486"/>
                    <a:pt x="10" y="497"/>
                    <a:pt x="16" y="506"/>
                  </a:cubicBezTo>
                  <a:cubicBezTo>
                    <a:pt x="23" y="515"/>
                    <a:pt x="32" y="521"/>
                    <a:pt x="43" y="523"/>
                  </a:cubicBezTo>
                  <a:lnTo>
                    <a:pt x="340" y="585"/>
                  </a:lnTo>
                  <a:cubicBezTo>
                    <a:pt x="343" y="585"/>
                    <a:pt x="346" y="586"/>
                    <a:pt x="348" y="586"/>
                  </a:cubicBezTo>
                  <a:cubicBezTo>
                    <a:pt x="368" y="586"/>
                    <a:pt x="384" y="572"/>
                    <a:pt x="388" y="554"/>
                  </a:cubicBezTo>
                  <a:lnTo>
                    <a:pt x="478" y="117"/>
                  </a:lnTo>
                  <a:close/>
                  <a:moveTo>
                    <a:pt x="448" y="63"/>
                  </a:moveTo>
                  <a:cubicBezTo>
                    <a:pt x="473" y="67"/>
                    <a:pt x="491" y="93"/>
                    <a:pt x="486" y="118"/>
                  </a:cubicBezTo>
                  <a:lnTo>
                    <a:pt x="396" y="556"/>
                  </a:lnTo>
                  <a:cubicBezTo>
                    <a:pt x="391" y="578"/>
                    <a:pt x="371" y="593"/>
                    <a:pt x="348" y="593"/>
                  </a:cubicBezTo>
                  <a:cubicBezTo>
                    <a:pt x="345" y="593"/>
                    <a:pt x="341" y="593"/>
                    <a:pt x="338" y="592"/>
                  </a:cubicBezTo>
                  <a:lnTo>
                    <a:pt x="42" y="532"/>
                  </a:lnTo>
                  <a:cubicBezTo>
                    <a:pt x="29" y="528"/>
                    <a:pt x="17" y="521"/>
                    <a:pt x="10" y="511"/>
                  </a:cubicBezTo>
                  <a:cubicBezTo>
                    <a:pt x="4" y="500"/>
                    <a:pt x="0" y="488"/>
                    <a:pt x="4" y="475"/>
                  </a:cubicBezTo>
                  <a:lnTo>
                    <a:pt x="93" y="37"/>
                  </a:lnTo>
                  <a:cubicBezTo>
                    <a:pt x="97" y="15"/>
                    <a:pt x="117" y="0"/>
                    <a:pt x="140" y="0"/>
                  </a:cubicBezTo>
                  <a:cubicBezTo>
                    <a:pt x="143" y="0"/>
                    <a:pt x="147" y="0"/>
                    <a:pt x="150" y="1"/>
                  </a:cubicBezTo>
                  <a:lnTo>
                    <a:pt x="448" y="63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8" name="iṩ1îḑè">
              <a:extLst>
                <a:ext uri="{FF2B5EF4-FFF2-40B4-BE49-F238E27FC236}">
                  <a16:creationId xmlns="" xmlns:a16="http://schemas.microsoft.com/office/drawing/2014/main" id="{D201887E-CDF1-4403-9E43-A0A06D07B3AB}"/>
                </a:ext>
              </a:extLst>
            </p:cNvPr>
            <p:cNvSpPr/>
            <p:nvPr/>
          </p:nvSpPr>
          <p:spPr bwMode="auto">
            <a:xfrm>
              <a:off x="1268413" y="4648200"/>
              <a:ext cx="346075" cy="220663"/>
            </a:xfrm>
            <a:custGeom>
              <a:avLst/>
              <a:gdLst>
                <a:gd name="T0" fmla="*/ 824 w 963"/>
                <a:gd name="T1" fmla="*/ 160 h 614"/>
                <a:gd name="T2" fmla="*/ 954 w 963"/>
                <a:gd name="T3" fmla="*/ 269 h 614"/>
                <a:gd name="T4" fmla="*/ 849 w 963"/>
                <a:gd name="T5" fmla="*/ 448 h 614"/>
                <a:gd name="T6" fmla="*/ 675 w 963"/>
                <a:gd name="T7" fmla="*/ 604 h 614"/>
                <a:gd name="T8" fmla="*/ 228 w 963"/>
                <a:gd name="T9" fmla="*/ 581 h 614"/>
                <a:gd name="T10" fmla="*/ 52 w 963"/>
                <a:gd name="T11" fmla="*/ 354 h 614"/>
                <a:gd name="T12" fmla="*/ 8 w 963"/>
                <a:gd name="T13" fmla="*/ 152 h 614"/>
                <a:gd name="T14" fmla="*/ 126 w 963"/>
                <a:gd name="T15" fmla="*/ 71 h 614"/>
                <a:gd name="T16" fmla="*/ 619 w 963"/>
                <a:gd name="T17" fmla="*/ 17 h 614"/>
                <a:gd name="T18" fmla="*/ 824 w 963"/>
                <a:gd name="T19" fmla="*/ 16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3" h="614">
                  <a:moveTo>
                    <a:pt x="824" y="160"/>
                  </a:moveTo>
                  <a:cubicBezTo>
                    <a:pt x="859" y="178"/>
                    <a:pt x="962" y="257"/>
                    <a:pt x="954" y="269"/>
                  </a:cubicBezTo>
                  <a:cubicBezTo>
                    <a:pt x="945" y="283"/>
                    <a:pt x="849" y="448"/>
                    <a:pt x="849" y="448"/>
                  </a:cubicBezTo>
                  <a:cubicBezTo>
                    <a:pt x="849" y="448"/>
                    <a:pt x="812" y="581"/>
                    <a:pt x="675" y="604"/>
                  </a:cubicBezTo>
                  <a:cubicBezTo>
                    <a:pt x="624" y="613"/>
                    <a:pt x="373" y="612"/>
                    <a:pt x="228" y="581"/>
                  </a:cubicBezTo>
                  <a:cubicBezTo>
                    <a:pt x="84" y="549"/>
                    <a:pt x="52" y="368"/>
                    <a:pt x="52" y="354"/>
                  </a:cubicBezTo>
                  <a:cubicBezTo>
                    <a:pt x="52" y="341"/>
                    <a:pt x="0" y="194"/>
                    <a:pt x="8" y="152"/>
                  </a:cubicBezTo>
                  <a:cubicBezTo>
                    <a:pt x="15" y="111"/>
                    <a:pt x="126" y="71"/>
                    <a:pt x="126" y="71"/>
                  </a:cubicBezTo>
                  <a:cubicBezTo>
                    <a:pt x="186" y="11"/>
                    <a:pt x="557" y="0"/>
                    <a:pt x="619" y="17"/>
                  </a:cubicBezTo>
                  <a:cubicBezTo>
                    <a:pt x="682" y="35"/>
                    <a:pt x="791" y="142"/>
                    <a:pt x="824" y="160"/>
                  </a:cubicBezTo>
                </a:path>
              </a:pathLst>
            </a:custGeom>
            <a:solidFill>
              <a:srgbClr val="E2F4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9" name="îSḷiḍè">
              <a:extLst>
                <a:ext uri="{FF2B5EF4-FFF2-40B4-BE49-F238E27FC236}">
                  <a16:creationId xmlns="" xmlns:a16="http://schemas.microsoft.com/office/drawing/2014/main" id="{7AF45B32-5460-482D-A6E3-131AC0ADD7CC}"/>
                </a:ext>
              </a:extLst>
            </p:cNvPr>
            <p:cNvSpPr/>
            <p:nvPr/>
          </p:nvSpPr>
          <p:spPr bwMode="auto">
            <a:xfrm>
              <a:off x="1266825" y="4649788"/>
              <a:ext cx="344488" cy="219075"/>
            </a:xfrm>
            <a:custGeom>
              <a:avLst/>
              <a:gdLst>
                <a:gd name="T0" fmla="*/ 844 w 958"/>
                <a:gd name="T1" fmla="*/ 440 h 609"/>
                <a:gd name="T2" fmla="*/ 948 w 958"/>
                <a:gd name="T3" fmla="*/ 263 h 609"/>
                <a:gd name="T4" fmla="*/ 822 w 958"/>
                <a:gd name="T5" fmla="*/ 158 h 609"/>
                <a:gd name="T6" fmla="*/ 763 w 958"/>
                <a:gd name="T7" fmla="*/ 113 h 609"/>
                <a:gd name="T8" fmla="*/ 618 w 958"/>
                <a:gd name="T9" fmla="*/ 15 h 609"/>
                <a:gd name="T10" fmla="*/ 512 w 958"/>
                <a:gd name="T11" fmla="*/ 7 h 609"/>
                <a:gd name="T12" fmla="*/ 130 w 958"/>
                <a:gd name="T13" fmla="*/ 68 h 609"/>
                <a:gd name="T14" fmla="*/ 128 w 958"/>
                <a:gd name="T15" fmla="*/ 69 h 609"/>
                <a:gd name="T16" fmla="*/ 13 w 958"/>
                <a:gd name="T17" fmla="*/ 148 h 609"/>
                <a:gd name="T18" fmla="*/ 46 w 958"/>
                <a:gd name="T19" fmla="*/ 304 h 609"/>
                <a:gd name="T20" fmla="*/ 57 w 958"/>
                <a:gd name="T21" fmla="*/ 348 h 609"/>
                <a:gd name="T22" fmla="*/ 91 w 958"/>
                <a:gd name="T23" fmla="*/ 453 h 609"/>
                <a:gd name="T24" fmla="*/ 230 w 958"/>
                <a:gd name="T25" fmla="*/ 572 h 609"/>
                <a:gd name="T26" fmla="*/ 568 w 958"/>
                <a:gd name="T27" fmla="*/ 600 h 609"/>
                <a:gd name="T28" fmla="*/ 673 w 958"/>
                <a:gd name="T29" fmla="*/ 595 h 609"/>
                <a:gd name="T30" fmla="*/ 843 w 958"/>
                <a:gd name="T31" fmla="*/ 441 h 609"/>
                <a:gd name="T32" fmla="*/ 844 w 958"/>
                <a:gd name="T33" fmla="*/ 440 h 609"/>
                <a:gd name="T34" fmla="*/ 825 w 958"/>
                <a:gd name="T35" fmla="*/ 152 h 609"/>
                <a:gd name="T36" fmla="*/ 955 w 958"/>
                <a:gd name="T37" fmla="*/ 260 h 609"/>
                <a:gd name="T38" fmla="*/ 955 w 958"/>
                <a:gd name="T39" fmla="*/ 266 h 609"/>
                <a:gd name="T40" fmla="*/ 851 w 958"/>
                <a:gd name="T41" fmla="*/ 443 h 609"/>
                <a:gd name="T42" fmla="*/ 674 w 958"/>
                <a:gd name="T43" fmla="*/ 602 h 609"/>
                <a:gd name="T44" fmla="*/ 568 w 958"/>
                <a:gd name="T45" fmla="*/ 608 h 609"/>
                <a:gd name="T46" fmla="*/ 228 w 958"/>
                <a:gd name="T47" fmla="*/ 579 h 609"/>
                <a:gd name="T48" fmla="*/ 50 w 958"/>
                <a:gd name="T49" fmla="*/ 348 h 609"/>
                <a:gd name="T50" fmla="*/ 38 w 958"/>
                <a:gd name="T51" fmla="*/ 307 h 609"/>
                <a:gd name="T52" fmla="*/ 5 w 958"/>
                <a:gd name="T53" fmla="*/ 146 h 609"/>
                <a:gd name="T54" fmla="*/ 124 w 958"/>
                <a:gd name="T55" fmla="*/ 62 h 609"/>
                <a:gd name="T56" fmla="*/ 512 w 958"/>
                <a:gd name="T57" fmla="*/ 0 h 609"/>
                <a:gd name="T58" fmla="*/ 620 w 958"/>
                <a:gd name="T59" fmla="*/ 7 h 609"/>
                <a:gd name="T60" fmla="*/ 768 w 958"/>
                <a:gd name="T61" fmla="*/ 107 h 609"/>
                <a:gd name="T62" fmla="*/ 825 w 958"/>
                <a:gd name="T63" fmla="*/ 15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58" h="609">
                  <a:moveTo>
                    <a:pt x="844" y="440"/>
                  </a:moveTo>
                  <a:cubicBezTo>
                    <a:pt x="844" y="439"/>
                    <a:pt x="940" y="275"/>
                    <a:pt x="948" y="263"/>
                  </a:cubicBezTo>
                  <a:cubicBezTo>
                    <a:pt x="950" y="251"/>
                    <a:pt x="859" y="178"/>
                    <a:pt x="822" y="158"/>
                  </a:cubicBezTo>
                  <a:cubicBezTo>
                    <a:pt x="809" y="152"/>
                    <a:pt x="788" y="134"/>
                    <a:pt x="763" y="113"/>
                  </a:cubicBezTo>
                  <a:cubicBezTo>
                    <a:pt x="719" y="76"/>
                    <a:pt x="658" y="26"/>
                    <a:pt x="618" y="15"/>
                  </a:cubicBezTo>
                  <a:cubicBezTo>
                    <a:pt x="601" y="10"/>
                    <a:pt x="563" y="7"/>
                    <a:pt x="512" y="7"/>
                  </a:cubicBezTo>
                  <a:cubicBezTo>
                    <a:pt x="378" y="7"/>
                    <a:pt x="172" y="26"/>
                    <a:pt x="130" y="68"/>
                  </a:cubicBezTo>
                  <a:cubicBezTo>
                    <a:pt x="129" y="69"/>
                    <a:pt x="129" y="69"/>
                    <a:pt x="128" y="69"/>
                  </a:cubicBezTo>
                  <a:cubicBezTo>
                    <a:pt x="126" y="70"/>
                    <a:pt x="20" y="109"/>
                    <a:pt x="13" y="148"/>
                  </a:cubicBezTo>
                  <a:cubicBezTo>
                    <a:pt x="8" y="176"/>
                    <a:pt x="31" y="257"/>
                    <a:pt x="46" y="304"/>
                  </a:cubicBezTo>
                  <a:cubicBezTo>
                    <a:pt x="53" y="331"/>
                    <a:pt x="57" y="344"/>
                    <a:pt x="57" y="348"/>
                  </a:cubicBezTo>
                  <a:cubicBezTo>
                    <a:pt x="57" y="353"/>
                    <a:pt x="65" y="401"/>
                    <a:pt x="91" y="453"/>
                  </a:cubicBezTo>
                  <a:cubicBezTo>
                    <a:pt x="114" y="498"/>
                    <a:pt x="155" y="556"/>
                    <a:pt x="230" y="572"/>
                  </a:cubicBezTo>
                  <a:cubicBezTo>
                    <a:pt x="325" y="592"/>
                    <a:pt x="467" y="600"/>
                    <a:pt x="568" y="600"/>
                  </a:cubicBezTo>
                  <a:cubicBezTo>
                    <a:pt x="616" y="600"/>
                    <a:pt x="656" y="598"/>
                    <a:pt x="673" y="595"/>
                  </a:cubicBezTo>
                  <a:cubicBezTo>
                    <a:pt x="806" y="572"/>
                    <a:pt x="843" y="442"/>
                    <a:pt x="843" y="441"/>
                  </a:cubicBezTo>
                  <a:lnTo>
                    <a:pt x="844" y="440"/>
                  </a:lnTo>
                  <a:close/>
                  <a:moveTo>
                    <a:pt x="825" y="152"/>
                  </a:moveTo>
                  <a:cubicBezTo>
                    <a:pt x="856" y="168"/>
                    <a:pt x="950" y="237"/>
                    <a:pt x="955" y="260"/>
                  </a:cubicBezTo>
                  <a:cubicBezTo>
                    <a:pt x="957" y="263"/>
                    <a:pt x="957" y="265"/>
                    <a:pt x="955" y="266"/>
                  </a:cubicBezTo>
                  <a:cubicBezTo>
                    <a:pt x="947" y="279"/>
                    <a:pt x="856" y="434"/>
                    <a:pt x="851" y="443"/>
                  </a:cubicBezTo>
                  <a:cubicBezTo>
                    <a:pt x="847" y="453"/>
                    <a:pt x="807" y="580"/>
                    <a:pt x="674" y="602"/>
                  </a:cubicBezTo>
                  <a:cubicBezTo>
                    <a:pt x="657" y="606"/>
                    <a:pt x="618" y="608"/>
                    <a:pt x="568" y="608"/>
                  </a:cubicBezTo>
                  <a:cubicBezTo>
                    <a:pt x="467" y="608"/>
                    <a:pt x="324" y="600"/>
                    <a:pt x="228" y="579"/>
                  </a:cubicBezTo>
                  <a:cubicBezTo>
                    <a:pt x="87" y="549"/>
                    <a:pt x="50" y="370"/>
                    <a:pt x="50" y="348"/>
                  </a:cubicBezTo>
                  <a:cubicBezTo>
                    <a:pt x="50" y="345"/>
                    <a:pt x="44" y="326"/>
                    <a:pt x="38" y="307"/>
                  </a:cubicBezTo>
                  <a:cubicBezTo>
                    <a:pt x="23" y="255"/>
                    <a:pt x="0" y="176"/>
                    <a:pt x="5" y="146"/>
                  </a:cubicBezTo>
                  <a:cubicBezTo>
                    <a:pt x="13" y="104"/>
                    <a:pt x="114" y="67"/>
                    <a:pt x="124" y="62"/>
                  </a:cubicBezTo>
                  <a:cubicBezTo>
                    <a:pt x="173" y="16"/>
                    <a:pt x="387" y="0"/>
                    <a:pt x="512" y="0"/>
                  </a:cubicBezTo>
                  <a:cubicBezTo>
                    <a:pt x="563" y="0"/>
                    <a:pt x="604" y="2"/>
                    <a:pt x="620" y="7"/>
                  </a:cubicBezTo>
                  <a:cubicBezTo>
                    <a:pt x="662" y="19"/>
                    <a:pt x="721" y="68"/>
                    <a:pt x="768" y="107"/>
                  </a:cubicBezTo>
                  <a:cubicBezTo>
                    <a:pt x="793" y="127"/>
                    <a:pt x="814" y="145"/>
                    <a:pt x="825" y="152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0" name="iSļïḑê">
              <a:extLst>
                <a:ext uri="{FF2B5EF4-FFF2-40B4-BE49-F238E27FC236}">
                  <a16:creationId xmlns="" xmlns:a16="http://schemas.microsoft.com/office/drawing/2014/main" id="{70E88CA3-30EB-4374-A359-26ADC5F71162}"/>
                </a:ext>
              </a:extLst>
            </p:cNvPr>
            <p:cNvSpPr/>
            <p:nvPr/>
          </p:nvSpPr>
          <p:spPr bwMode="auto">
            <a:xfrm>
              <a:off x="1304925" y="4727575"/>
              <a:ext cx="66675" cy="131763"/>
            </a:xfrm>
            <a:custGeom>
              <a:avLst/>
              <a:gdLst>
                <a:gd name="T0" fmla="*/ 90 w 184"/>
                <a:gd name="T1" fmla="*/ 129 h 368"/>
                <a:gd name="T2" fmla="*/ 66 w 184"/>
                <a:gd name="T3" fmla="*/ 60 h 368"/>
                <a:gd name="T4" fmla="*/ 183 w 184"/>
                <a:gd name="T5" fmla="*/ 0 h 368"/>
                <a:gd name="T6" fmla="*/ 151 w 184"/>
                <a:gd name="T7" fmla="*/ 367 h 368"/>
                <a:gd name="T8" fmla="*/ 3 w 184"/>
                <a:gd name="T9" fmla="*/ 286 h 368"/>
                <a:gd name="T10" fmla="*/ 24 w 184"/>
                <a:gd name="T11" fmla="*/ 134 h 368"/>
                <a:gd name="T12" fmla="*/ 90 w 184"/>
                <a:gd name="T13" fmla="*/ 129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368">
                  <a:moveTo>
                    <a:pt x="90" y="129"/>
                  </a:moveTo>
                  <a:lnTo>
                    <a:pt x="66" y="60"/>
                  </a:lnTo>
                  <a:cubicBezTo>
                    <a:pt x="98" y="29"/>
                    <a:pt x="183" y="0"/>
                    <a:pt x="183" y="0"/>
                  </a:cubicBezTo>
                  <a:lnTo>
                    <a:pt x="151" y="367"/>
                  </a:lnTo>
                  <a:cubicBezTo>
                    <a:pt x="66" y="367"/>
                    <a:pt x="5" y="294"/>
                    <a:pt x="3" y="286"/>
                  </a:cubicBezTo>
                  <a:cubicBezTo>
                    <a:pt x="0" y="278"/>
                    <a:pt x="24" y="134"/>
                    <a:pt x="24" y="134"/>
                  </a:cubicBezTo>
                  <a:lnTo>
                    <a:pt x="90" y="129"/>
                  </a:lnTo>
                </a:path>
              </a:pathLst>
            </a:custGeom>
            <a:solidFill>
              <a:srgbClr val="E2F4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1" name="ïṧļíḋè">
              <a:extLst>
                <a:ext uri="{FF2B5EF4-FFF2-40B4-BE49-F238E27FC236}">
                  <a16:creationId xmlns="" xmlns:a16="http://schemas.microsoft.com/office/drawing/2014/main" id="{2A3AC170-96EE-42BD-91F5-D5E7FC38C6A2}"/>
                </a:ext>
              </a:extLst>
            </p:cNvPr>
            <p:cNvSpPr/>
            <p:nvPr/>
          </p:nvSpPr>
          <p:spPr bwMode="auto">
            <a:xfrm>
              <a:off x="1304925" y="4725988"/>
              <a:ext cx="68263" cy="134937"/>
            </a:xfrm>
            <a:custGeom>
              <a:avLst/>
              <a:gdLst>
                <a:gd name="T0" fmla="*/ 149 w 189"/>
                <a:gd name="T1" fmla="*/ 365 h 373"/>
                <a:gd name="T2" fmla="*/ 179 w 189"/>
                <a:gd name="T3" fmla="*/ 9 h 373"/>
                <a:gd name="T4" fmla="*/ 73 w 189"/>
                <a:gd name="T5" fmla="*/ 65 h 373"/>
                <a:gd name="T6" fmla="*/ 95 w 189"/>
                <a:gd name="T7" fmla="*/ 131 h 373"/>
                <a:gd name="T8" fmla="*/ 95 w 189"/>
                <a:gd name="T9" fmla="*/ 134 h 373"/>
                <a:gd name="T10" fmla="*/ 92 w 189"/>
                <a:gd name="T11" fmla="*/ 135 h 373"/>
                <a:gd name="T12" fmla="*/ 31 w 189"/>
                <a:gd name="T13" fmla="*/ 141 h 373"/>
                <a:gd name="T14" fmla="*/ 10 w 189"/>
                <a:gd name="T15" fmla="*/ 287 h 373"/>
                <a:gd name="T16" fmla="*/ 149 w 189"/>
                <a:gd name="T17" fmla="*/ 365 h 373"/>
                <a:gd name="T18" fmla="*/ 182 w 189"/>
                <a:gd name="T19" fmla="*/ 0 h 373"/>
                <a:gd name="T20" fmla="*/ 186 w 189"/>
                <a:gd name="T21" fmla="*/ 1 h 373"/>
                <a:gd name="T22" fmla="*/ 187 w 189"/>
                <a:gd name="T23" fmla="*/ 4 h 373"/>
                <a:gd name="T24" fmla="*/ 155 w 189"/>
                <a:gd name="T25" fmla="*/ 369 h 373"/>
                <a:gd name="T26" fmla="*/ 152 w 189"/>
                <a:gd name="T27" fmla="*/ 372 h 373"/>
                <a:gd name="T28" fmla="*/ 3 w 189"/>
                <a:gd name="T29" fmla="*/ 289 h 373"/>
                <a:gd name="T30" fmla="*/ 23 w 189"/>
                <a:gd name="T31" fmla="*/ 136 h 373"/>
                <a:gd name="T32" fmla="*/ 27 w 189"/>
                <a:gd name="T33" fmla="*/ 133 h 373"/>
                <a:gd name="T34" fmla="*/ 87 w 189"/>
                <a:gd name="T35" fmla="*/ 128 h 373"/>
                <a:gd name="T36" fmla="*/ 65 w 189"/>
                <a:gd name="T37" fmla="*/ 65 h 373"/>
                <a:gd name="T38" fmla="*/ 65 w 189"/>
                <a:gd name="T39" fmla="*/ 61 h 373"/>
                <a:gd name="T40" fmla="*/ 182 w 189"/>
                <a:gd name="T4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9" h="373">
                  <a:moveTo>
                    <a:pt x="149" y="365"/>
                  </a:moveTo>
                  <a:lnTo>
                    <a:pt x="179" y="9"/>
                  </a:lnTo>
                  <a:cubicBezTo>
                    <a:pt x="160" y="16"/>
                    <a:pt x="100" y="39"/>
                    <a:pt x="73" y="65"/>
                  </a:cubicBezTo>
                  <a:lnTo>
                    <a:pt x="95" y="131"/>
                  </a:lnTo>
                  <a:cubicBezTo>
                    <a:pt x="97" y="132"/>
                    <a:pt x="95" y="133"/>
                    <a:pt x="95" y="134"/>
                  </a:cubicBezTo>
                  <a:cubicBezTo>
                    <a:pt x="94" y="135"/>
                    <a:pt x="93" y="135"/>
                    <a:pt x="92" y="135"/>
                  </a:cubicBezTo>
                  <a:lnTo>
                    <a:pt x="31" y="141"/>
                  </a:lnTo>
                  <a:cubicBezTo>
                    <a:pt x="21" y="194"/>
                    <a:pt x="9" y="280"/>
                    <a:pt x="10" y="287"/>
                  </a:cubicBezTo>
                  <a:cubicBezTo>
                    <a:pt x="12" y="293"/>
                    <a:pt x="69" y="363"/>
                    <a:pt x="149" y="365"/>
                  </a:cubicBezTo>
                  <a:close/>
                  <a:moveTo>
                    <a:pt x="182" y="0"/>
                  </a:moveTo>
                  <a:cubicBezTo>
                    <a:pt x="183" y="0"/>
                    <a:pt x="184" y="0"/>
                    <a:pt x="186" y="1"/>
                  </a:cubicBezTo>
                  <a:cubicBezTo>
                    <a:pt x="187" y="1"/>
                    <a:pt x="188" y="3"/>
                    <a:pt x="187" y="4"/>
                  </a:cubicBezTo>
                  <a:lnTo>
                    <a:pt x="155" y="369"/>
                  </a:lnTo>
                  <a:cubicBezTo>
                    <a:pt x="155" y="371"/>
                    <a:pt x="154" y="372"/>
                    <a:pt x="152" y="372"/>
                  </a:cubicBezTo>
                  <a:cubicBezTo>
                    <a:pt x="68" y="372"/>
                    <a:pt x="5" y="299"/>
                    <a:pt x="3" y="289"/>
                  </a:cubicBezTo>
                  <a:cubicBezTo>
                    <a:pt x="0" y="281"/>
                    <a:pt x="18" y="170"/>
                    <a:pt x="23" y="136"/>
                  </a:cubicBezTo>
                  <a:cubicBezTo>
                    <a:pt x="24" y="134"/>
                    <a:pt x="25" y="133"/>
                    <a:pt x="27" y="133"/>
                  </a:cubicBezTo>
                  <a:lnTo>
                    <a:pt x="87" y="128"/>
                  </a:lnTo>
                  <a:lnTo>
                    <a:pt x="65" y="65"/>
                  </a:lnTo>
                  <a:cubicBezTo>
                    <a:pt x="64" y="63"/>
                    <a:pt x="64" y="62"/>
                    <a:pt x="65" y="61"/>
                  </a:cubicBezTo>
                  <a:cubicBezTo>
                    <a:pt x="97" y="30"/>
                    <a:pt x="179" y="1"/>
                    <a:pt x="182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2" name="îşḻîḋê">
              <a:extLst>
                <a:ext uri="{FF2B5EF4-FFF2-40B4-BE49-F238E27FC236}">
                  <a16:creationId xmlns="" xmlns:a16="http://schemas.microsoft.com/office/drawing/2014/main" id="{784F5E0A-E3B7-40F2-B7D6-8E9CF52352A6}"/>
                </a:ext>
              </a:extLst>
            </p:cNvPr>
            <p:cNvSpPr/>
            <p:nvPr/>
          </p:nvSpPr>
          <p:spPr bwMode="auto">
            <a:xfrm>
              <a:off x="1147763" y="5094288"/>
              <a:ext cx="142875" cy="184150"/>
            </a:xfrm>
            <a:custGeom>
              <a:avLst/>
              <a:gdLst>
                <a:gd name="T0" fmla="*/ 394 w 399"/>
                <a:gd name="T1" fmla="*/ 62 h 512"/>
                <a:gd name="T2" fmla="*/ 398 w 399"/>
                <a:gd name="T3" fmla="*/ 64 h 512"/>
                <a:gd name="T4" fmla="*/ 398 w 399"/>
                <a:gd name="T5" fmla="*/ 68 h 512"/>
                <a:gd name="T6" fmla="*/ 308 w 399"/>
                <a:gd name="T7" fmla="*/ 507 h 512"/>
                <a:gd name="T8" fmla="*/ 304 w 399"/>
                <a:gd name="T9" fmla="*/ 511 h 512"/>
                <a:gd name="T10" fmla="*/ 302 w 399"/>
                <a:gd name="T11" fmla="*/ 511 h 512"/>
                <a:gd name="T12" fmla="*/ 5 w 399"/>
                <a:gd name="T13" fmla="*/ 449 h 512"/>
                <a:gd name="T14" fmla="*/ 0 w 399"/>
                <a:gd name="T15" fmla="*/ 443 h 512"/>
                <a:gd name="T16" fmla="*/ 90 w 399"/>
                <a:gd name="T17" fmla="*/ 3 h 512"/>
                <a:gd name="T18" fmla="*/ 95 w 399"/>
                <a:gd name="T19" fmla="*/ 0 h 512"/>
                <a:gd name="T20" fmla="*/ 96 w 399"/>
                <a:gd name="T21" fmla="*/ 0 h 512"/>
                <a:gd name="T22" fmla="*/ 394 w 399"/>
                <a:gd name="T23" fmla="*/ 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9" h="512">
                  <a:moveTo>
                    <a:pt x="394" y="62"/>
                  </a:moveTo>
                  <a:cubicBezTo>
                    <a:pt x="396" y="62"/>
                    <a:pt x="397" y="63"/>
                    <a:pt x="398" y="64"/>
                  </a:cubicBezTo>
                  <a:cubicBezTo>
                    <a:pt x="398" y="65"/>
                    <a:pt x="398" y="66"/>
                    <a:pt x="398" y="68"/>
                  </a:cubicBezTo>
                  <a:lnTo>
                    <a:pt x="308" y="507"/>
                  </a:lnTo>
                  <a:cubicBezTo>
                    <a:pt x="308" y="510"/>
                    <a:pt x="306" y="511"/>
                    <a:pt x="304" y="511"/>
                  </a:cubicBezTo>
                  <a:lnTo>
                    <a:pt x="302" y="511"/>
                  </a:lnTo>
                  <a:lnTo>
                    <a:pt x="5" y="449"/>
                  </a:lnTo>
                  <a:cubicBezTo>
                    <a:pt x="1" y="449"/>
                    <a:pt x="0" y="446"/>
                    <a:pt x="0" y="443"/>
                  </a:cubicBezTo>
                  <a:lnTo>
                    <a:pt x="90" y="3"/>
                  </a:lnTo>
                  <a:cubicBezTo>
                    <a:pt x="90" y="1"/>
                    <a:pt x="93" y="0"/>
                    <a:pt x="95" y="0"/>
                  </a:cubicBezTo>
                  <a:lnTo>
                    <a:pt x="96" y="0"/>
                  </a:lnTo>
                  <a:lnTo>
                    <a:pt x="394" y="6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3" name="íṧľiḋé">
              <a:extLst>
                <a:ext uri="{FF2B5EF4-FFF2-40B4-BE49-F238E27FC236}">
                  <a16:creationId xmlns="" xmlns:a16="http://schemas.microsoft.com/office/drawing/2014/main" id="{8C7D1D8B-B9C2-48E8-9B64-7A96D6EBA39E}"/>
                </a:ext>
              </a:extLst>
            </p:cNvPr>
            <p:cNvSpPr/>
            <p:nvPr/>
          </p:nvSpPr>
          <p:spPr bwMode="auto">
            <a:xfrm>
              <a:off x="1146175" y="5092700"/>
              <a:ext cx="147638" cy="185738"/>
            </a:xfrm>
            <a:custGeom>
              <a:avLst/>
              <a:gdLst>
                <a:gd name="T0" fmla="*/ 310 w 410"/>
                <a:gd name="T1" fmla="*/ 507 h 517"/>
                <a:gd name="T2" fmla="*/ 400 w 410"/>
                <a:gd name="T3" fmla="*/ 69 h 517"/>
                <a:gd name="T4" fmla="*/ 399 w 410"/>
                <a:gd name="T5" fmla="*/ 68 h 517"/>
                <a:gd name="T6" fmla="*/ 101 w 410"/>
                <a:gd name="T7" fmla="*/ 7 h 517"/>
                <a:gd name="T8" fmla="*/ 100 w 410"/>
                <a:gd name="T9" fmla="*/ 7 h 517"/>
                <a:gd name="T10" fmla="*/ 99 w 410"/>
                <a:gd name="T11" fmla="*/ 8 h 517"/>
                <a:gd name="T12" fmla="*/ 8 w 410"/>
                <a:gd name="T13" fmla="*/ 445 h 517"/>
                <a:gd name="T14" fmla="*/ 10 w 410"/>
                <a:gd name="T15" fmla="*/ 446 h 517"/>
                <a:gd name="T16" fmla="*/ 309 w 410"/>
                <a:gd name="T17" fmla="*/ 508 h 517"/>
                <a:gd name="T18" fmla="*/ 310 w 410"/>
                <a:gd name="T19" fmla="*/ 507 h 517"/>
                <a:gd name="T20" fmla="*/ 400 w 410"/>
                <a:gd name="T21" fmla="*/ 61 h 517"/>
                <a:gd name="T22" fmla="*/ 406 w 410"/>
                <a:gd name="T23" fmla="*/ 65 h 517"/>
                <a:gd name="T24" fmla="*/ 407 w 410"/>
                <a:gd name="T25" fmla="*/ 71 h 517"/>
                <a:gd name="T26" fmla="*/ 318 w 410"/>
                <a:gd name="T27" fmla="*/ 509 h 517"/>
                <a:gd name="T28" fmla="*/ 309 w 410"/>
                <a:gd name="T29" fmla="*/ 516 h 517"/>
                <a:gd name="T30" fmla="*/ 306 w 410"/>
                <a:gd name="T31" fmla="*/ 515 h 517"/>
                <a:gd name="T32" fmla="*/ 8 w 410"/>
                <a:gd name="T33" fmla="*/ 453 h 517"/>
                <a:gd name="T34" fmla="*/ 1 w 410"/>
                <a:gd name="T35" fmla="*/ 444 h 517"/>
                <a:gd name="T36" fmla="*/ 92 w 410"/>
                <a:gd name="T37" fmla="*/ 6 h 517"/>
                <a:gd name="T38" fmla="*/ 100 w 410"/>
                <a:gd name="T39" fmla="*/ 0 h 517"/>
                <a:gd name="T40" fmla="*/ 102 w 410"/>
                <a:gd name="T41" fmla="*/ 0 h 517"/>
                <a:gd name="T42" fmla="*/ 400 w 410"/>
                <a:gd name="T43" fmla="*/ 61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0" h="517">
                  <a:moveTo>
                    <a:pt x="310" y="507"/>
                  </a:moveTo>
                  <a:lnTo>
                    <a:pt x="400" y="69"/>
                  </a:lnTo>
                  <a:cubicBezTo>
                    <a:pt x="399" y="69"/>
                    <a:pt x="399" y="68"/>
                    <a:pt x="399" y="68"/>
                  </a:cubicBezTo>
                  <a:lnTo>
                    <a:pt x="101" y="7"/>
                  </a:lnTo>
                  <a:cubicBezTo>
                    <a:pt x="100" y="7"/>
                    <a:pt x="100" y="7"/>
                    <a:pt x="100" y="7"/>
                  </a:cubicBezTo>
                  <a:lnTo>
                    <a:pt x="99" y="8"/>
                  </a:lnTo>
                  <a:lnTo>
                    <a:pt x="8" y="445"/>
                  </a:lnTo>
                  <a:cubicBezTo>
                    <a:pt x="8" y="445"/>
                    <a:pt x="9" y="446"/>
                    <a:pt x="10" y="446"/>
                  </a:cubicBezTo>
                  <a:lnTo>
                    <a:pt x="309" y="508"/>
                  </a:lnTo>
                  <a:cubicBezTo>
                    <a:pt x="309" y="508"/>
                    <a:pt x="310" y="508"/>
                    <a:pt x="310" y="507"/>
                  </a:cubicBezTo>
                  <a:close/>
                  <a:moveTo>
                    <a:pt x="400" y="61"/>
                  </a:moveTo>
                  <a:cubicBezTo>
                    <a:pt x="404" y="61"/>
                    <a:pt x="405" y="64"/>
                    <a:pt x="406" y="65"/>
                  </a:cubicBezTo>
                  <a:cubicBezTo>
                    <a:pt x="407" y="66"/>
                    <a:pt x="409" y="68"/>
                    <a:pt x="407" y="71"/>
                  </a:cubicBezTo>
                  <a:lnTo>
                    <a:pt x="318" y="509"/>
                  </a:lnTo>
                  <a:cubicBezTo>
                    <a:pt x="317" y="514"/>
                    <a:pt x="312" y="516"/>
                    <a:pt x="309" y="516"/>
                  </a:cubicBezTo>
                  <a:cubicBezTo>
                    <a:pt x="308" y="516"/>
                    <a:pt x="308" y="515"/>
                    <a:pt x="306" y="515"/>
                  </a:cubicBezTo>
                  <a:lnTo>
                    <a:pt x="8" y="453"/>
                  </a:lnTo>
                  <a:cubicBezTo>
                    <a:pt x="4" y="453"/>
                    <a:pt x="0" y="449"/>
                    <a:pt x="1" y="444"/>
                  </a:cubicBezTo>
                  <a:lnTo>
                    <a:pt x="92" y="6"/>
                  </a:lnTo>
                  <a:cubicBezTo>
                    <a:pt x="92" y="1"/>
                    <a:pt x="96" y="0"/>
                    <a:pt x="100" y="0"/>
                  </a:cubicBezTo>
                  <a:cubicBezTo>
                    <a:pt x="101" y="0"/>
                    <a:pt x="101" y="0"/>
                    <a:pt x="102" y="0"/>
                  </a:cubicBezTo>
                  <a:lnTo>
                    <a:pt x="400" y="61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4" name="iSḻíďê">
              <a:extLst>
                <a:ext uri="{FF2B5EF4-FFF2-40B4-BE49-F238E27FC236}">
                  <a16:creationId xmlns="" xmlns:a16="http://schemas.microsoft.com/office/drawing/2014/main" id="{F5A593AC-6B3B-4BB5-89EE-FEDBF4BD44FA}"/>
                </a:ext>
              </a:extLst>
            </p:cNvPr>
            <p:cNvSpPr/>
            <p:nvPr/>
          </p:nvSpPr>
          <p:spPr bwMode="auto">
            <a:xfrm>
              <a:off x="1112838" y="4665663"/>
              <a:ext cx="222250" cy="366712"/>
            </a:xfrm>
            <a:custGeom>
              <a:avLst/>
              <a:gdLst>
                <a:gd name="T0" fmla="*/ 192 w 619"/>
                <a:gd name="T1" fmla="*/ 336 h 1019"/>
                <a:gd name="T2" fmla="*/ 380 w 619"/>
                <a:gd name="T3" fmla="*/ 73 h 1019"/>
                <a:gd name="T4" fmla="*/ 618 w 619"/>
                <a:gd name="T5" fmla="*/ 0 h 1019"/>
                <a:gd name="T6" fmla="*/ 482 w 619"/>
                <a:gd name="T7" fmla="*/ 313 h 1019"/>
                <a:gd name="T8" fmla="*/ 401 w 619"/>
                <a:gd name="T9" fmla="*/ 420 h 1019"/>
                <a:gd name="T10" fmla="*/ 351 w 619"/>
                <a:gd name="T11" fmla="*/ 480 h 1019"/>
                <a:gd name="T12" fmla="*/ 322 w 619"/>
                <a:gd name="T13" fmla="*/ 551 h 1019"/>
                <a:gd name="T14" fmla="*/ 284 w 619"/>
                <a:gd name="T15" fmla="*/ 583 h 1019"/>
                <a:gd name="T16" fmla="*/ 171 w 619"/>
                <a:gd name="T17" fmla="*/ 1018 h 1019"/>
                <a:gd name="T18" fmla="*/ 0 w 619"/>
                <a:gd name="T19" fmla="*/ 984 h 1019"/>
                <a:gd name="T20" fmla="*/ 89 w 619"/>
                <a:gd name="T21" fmla="*/ 570 h 1019"/>
                <a:gd name="T22" fmla="*/ 108 w 619"/>
                <a:gd name="T23" fmla="*/ 559 h 1019"/>
                <a:gd name="T24" fmla="*/ 118 w 619"/>
                <a:gd name="T25" fmla="*/ 528 h 1019"/>
                <a:gd name="T26" fmla="*/ 131 w 619"/>
                <a:gd name="T27" fmla="*/ 503 h 1019"/>
                <a:gd name="T28" fmla="*/ 171 w 619"/>
                <a:gd name="T29" fmla="*/ 399 h 1019"/>
                <a:gd name="T30" fmla="*/ 167 w 619"/>
                <a:gd name="T31" fmla="*/ 357 h 1019"/>
                <a:gd name="T32" fmla="*/ 192 w 619"/>
                <a:gd name="T33" fmla="*/ 336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1019">
                  <a:moveTo>
                    <a:pt x="192" y="336"/>
                  </a:moveTo>
                  <a:cubicBezTo>
                    <a:pt x="192" y="336"/>
                    <a:pt x="317" y="121"/>
                    <a:pt x="380" y="73"/>
                  </a:cubicBezTo>
                  <a:cubicBezTo>
                    <a:pt x="474" y="3"/>
                    <a:pt x="618" y="0"/>
                    <a:pt x="618" y="0"/>
                  </a:cubicBezTo>
                  <a:cubicBezTo>
                    <a:pt x="522" y="81"/>
                    <a:pt x="493" y="284"/>
                    <a:pt x="482" y="313"/>
                  </a:cubicBezTo>
                  <a:cubicBezTo>
                    <a:pt x="472" y="341"/>
                    <a:pt x="411" y="407"/>
                    <a:pt x="401" y="420"/>
                  </a:cubicBezTo>
                  <a:cubicBezTo>
                    <a:pt x="391" y="433"/>
                    <a:pt x="351" y="480"/>
                    <a:pt x="351" y="480"/>
                  </a:cubicBezTo>
                  <a:lnTo>
                    <a:pt x="322" y="551"/>
                  </a:lnTo>
                  <a:lnTo>
                    <a:pt x="284" y="583"/>
                  </a:lnTo>
                  <a:cubicBezTo>
                    <a:pt x="278" y="664"/>
                    <a:pt x="171" y="1018"/>
                    <a:pt x="171" y="1018"/>
                  </a:cubicBezTo>
                  <a:cubicBezTo>
                    <a:pt x="115" y="1011"/>
                    <a:pt x="0" y="984"/>
                    <a:pt x="0" y="984"/>
                  </a:cubicBezTo>
                  <a:cubicBezTo>
                    <a:pt x="16" y="982"/>
                    <a:pt x="84" y="585"/>
                    <a:pt x="89" y="570"/>
                  </a:cubicBezTo>
                  <a:cubicBezTo>
                    <a:pt x="94" y="554"/>
                    <a:pt x="108" y="559"/>
                    <a:pt x="108" y="559"/>
                  </a:cubicBezTo>
                  <a:lnTo>
                    <a:pt x="118" y="528"/>
                  </a:lnTo>
                  <a:cubicBezTo>
                    <a:pt x="118" y="528"/>
                    <a:pt x="131" y="514"/>
                    <a:pt x="131" y="503"/>
                  </a:cubicBezTo>
                  <a:cubicBezTo>
                    <a:pt x="131" y="493"/>
                    <a:pt x="171" y="399"/>
                    <a:pt x="171" y="399"/>
                  </a:cubicBezTo>
                  <a:cubicBezTo>
                    <a:pt x="171" y="399"/>
                    <a:pt x="171" y="367"/>
                    <a:pt x="167" y="357"/>
                  </a:cubicBezTo>
                  <a:cubicBezTo>
                    <a:pt x="165" y="346"/>
                    <a:pt x="192" y="336"/>
                    <a:pt x="192" y="336"/>
                  </a:cubicBezTo>
                </a:path>
              </a:pathLst>
            </a:custGeom>
            <a:solidFill>
              <a:srgbClr val="E2F4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5" name="ï$1íďe">
              <a:extLst>
                <a:ext uri="{FF2B5EF4-FFF2-40B4-BE49-F238E27FC236}">
                  <a16:creationId xmlns="" xmlns:a16="http://schemas.microsoft.com/office/drawing/2014/main" id="{84DCE7E0-76C2-49F9-B1F2-3A1DEEAB992A}"/>
                </a:ext>
              </a:extLst>
            </p:cNvPr>
            <p:cNvSpPr/>
            <p:nvPr/>
          </p:nvSpPr>
          <p:spPr bwMode="auto">
            <a:xfrm>
              <a:off x="1111250" y="4664075"/>
              <a:ext cx="225425" cy="368300"/>
            </a:xfrm>
            <a:custGeom>
              <a:avLst/>
              <a:gdLst>
                <a:gd name="T0" fmla="*/ 488 w 624"/>
                <a:gd name="T1" fmla="*/ 283 h 1024"/>
                <a:gd name="T2" fmla="*/ 608 w 624"/>
                <a:gd name="T3" fmla="*/ 8 h 1024"/>
                <a:gd name="T4" fmla="*/ 384 w 624"/>
                <a:gd name="T5" fmla="*/ 80 h 1024"/>
                <a:gd name="T6" fmla="*/ 198 w 624"/>
                <a:gd name="T7" fmla="*/ 341 h 1024"/>
                <a:gd name="T8" fmla="*/ 195 w 624"/>
                <a:gd name="T9" fmla="*/ 342 h 1024"/>
                <a:gd name="T10" fmla="*/ 174 w 624"/>
                <a:gd name="T11" fmla="*/ 358 h 1024"/>
                <a:gd name="T12" fmla="*/ 177 w 624"/>
                <a:gd name="T13" fmla="*/ 401 h 1024"/>
                <a:gd name="T14" fmla="*/ 177 w 624"/>
                <a:gd name="T15" fmla="*/ 402 h 1024"/>
                <a:gd name="T16" fmla="*/ 137 w 624"/>
                <a:gd name="T17" fmla="*/ 505 h 1024"/>
                <a:gd name="T18" fmla="*/ 124 w 624"/>
                <a:gd name="T19" fmla="*/ 531 h 1024"/>
                <a:gd name="T20" fmla="*/ 114 w 624"/>
                <a:gd name="T21" fmla="*/ 562 h 1024"/>
                <a:gd name="T22" fmla="*/ 112 w 624"/>
                <a:gd name="T23" fmla="*/ 564 h 1024"/>
                <a:gd name="T24" fmla="*/ 108 w 624"/>
                <a:gd name="T25" fmla="*/ 564 h 1024"/>
                <a:gd name="T26" fmla="*/ 105 w 624"/>
                <a:gd name="T27" fmla="*/ 563 h 1024"/>
                <a:gd name="T28" fmla="*/ 96 w 624"/>
                <a:gd name="T29" fmla="*/ 573 h 1024"/>
                <a:gd name="T30" fmla="*/ 80 w 624"/>
                <a:gd name="T31" fmla="*/ 657 h 1024"/>
                <a:gd name="T32" fmla="*/ 10 w 624"/>
                <a:gd name="T33" fmla="*/ 982 h 1024"/>
                <a:gd name="T34" fmla="*/ 170 w 624"/>
                <a:gd name="T35" fmla="*/ 1015 h 1024"/>
                <a:gd name="T36" fmla="*/ 281 w 624"/>
                <a:gd name="T37" fmla="*/ 584 h 1024"/>
                <a:gd name="T38" fmla="*/ 283 w 624"/>
                <a:gd name="T39" fmla="*/ 581 h 1024"/>
                <a:gd name="T40" fmla="*/ 321 w 624"/>
                <a:gd name="T41" fmla="*/ 551 h 1024"/>
                <a:gd name="T42" fmla="*/ 349 w 624"/>
                <a:gd name="T43" fmla="*/ 481 h 1024"/>
                <a:gd name="T44" fmla="*/ 350 w 624"/>
                <a:gd name="T45" fmla="*/ 480 h 1024"/>
                <a:gd name="T46" fmla="*/ 400 w 624"/>
                <a:gd name="T47" fmla="*/ 419 h 1024"/>
                <a:gd name="T48" fmla="*/ 410 w 624"/>
                <a:gd name="T49" fmla="*/ 407 h 1024"/>
                <a:gd name="T50" fmla="*/ 480 w 624"/>
                <a:gd name="T51" fmla="*/ 313 h 1024"/>
                <a:gd name="T52" fmla="*/ 488 w 624"/>
                <a:gd name="T53" fmla="*/ 283 h 1024"/>
                <a:gd name="T54" fmla="*/ 619 w 624"/>
                <a:gd name="T55" fmla="*/ 0 h 1024"/>
                <a:gd name="T56" fmla="*/ 623 w 624"/>
                <a:gd name="T57" fmla="*/ 2 h 1024"/>
                <a:gd name="T58" fmla="*/ 622 w 624"/>
                <a:gd name="T59" fmla="*/ 7 h 1024"/>
                <a:gd name="T60" fmla="*/ 495 w 624"/>
                <a:gd name="T61" fmla="*/ 285 h 1024"/>
                <a:gd name="T62" fmla="*/ 487 w 624"/>
                <a:gd name="T63" fmla="*/ 316 h 1024"/>
                <a:gd name="T64" fmla="*/ 416 w 624"/>
                <a:gd name="T65" fmla="*/ 411 h 1024"/>
                <a:gd name="T66" fmla="*/ 406 w 624"/>
                <a:gd name="T67" fmla="*/ 424 h 1024"/>
                <a:gd name="T68" fmla="*/ 356 w 624"/>
                <a:gd name="T69" fmla="*/ 484 h 1024"/>
                <a:gd name="T70" fmla="*/ 328 w 624"/>
                <a:gd name="T71" fmla="*/ 554 h 1024"/>
                <a:gd name="T72" fmla="*/ 327 w 624"/>
                <a:gd name="T73" fmla="*/ 556 h 1024"/>
                <a:gd name="T74" fmla="*/ 289 w 624"/>
                <a:gd name="T75" fmla="*/ 587 h 1024"/>
                <a:gd name="T76" fmla="*/ 177 w 624"/>
                <a:gd name="T77" fmla="*/ 1019 h 1024"/>
                <a:gd name="T78" fmla="*/ 173 w 624"/>
                <a:gd name="T79" fmla="*/ 1023 h 1024"/>
                <a:gd name="T80" fmla="*/ 172 w 624"/>
                <a:gd name="T81" fmla="*/ 1023 h 1024"/>
                <a:gd name="T82" fmla="*/ 2 w 624"/>
                <a:gd name="T83" fmla="*/ 988 h 1024"/>
                <a:gd name="T84" fmla="*/ 0 w 624"/>
                <a:gd name="T85" fmla="*/ 984 h 1024"/>
                <a:gd name="T86" fmla="*/ 2 w 624"/>
                <a:gd name="T87" fmla="*/ 981 h 1024"/>
                <a:gd name="T88" fmla="*/ 71 w 624"/>
                <a:gd name="T89" fmla="*/ 656 h 1024"/>
                <a:gd name="T90" fmla="*/ 89 w 624"/>
                <a:gd name="T91" fmla="*/ 570 h 1024"/>
                <a:gd name="T92" fmla="*/ 105 w 624"/>
                <a:gd name="T93" fmla="*/ 556 h 1024"/>
                <a:gd name="T94" fmla="*/ 107 w 624"/>
                <a:gd name="T95" fmla="*/ 556 h 1024"/>
                <a:gd name="T96" fmla="*/ 117 w 624"/>
                <a:gd name="T97" fmla="*/ 529 h 1024"/>
                <a:gd name="T98" fmla="*/ 118 w 624"/>
                <a:gd name="T99" fmla="*/ 526 h 1024"/>
                <a:gd name="T100" fmla="*/ 129 w 624"/>
                <a:gd name="T101" fmla="*/ 505 h 1024"/>
                <a:gd name="T102" fmla="*/ 169 w 624"/>
                <a:gd name="T103" fmla="*/ 400 h 1024"/>
                <a:gd name="T104" fmla="*/ 166 w 624"/>
                <a:gd name="T105" fmla="*/ 360 h 1024"/>
                <a:gd name="T106" fmla="*/ 191 w 624"/>
                <a:gd name="T107" fmla="*/ 335 h 1024"/>
                <a:gd name="T108" fmla="*/ 379 w 624"/>
                <a:gd name="T109" fmla="*/ 74 h 1024"/>
                <a:gd name="T110" fmla="*/ 619 w 624"/>
                <a:gd name="T111" fmla="*/ 0 h 1024"/>
                <a:gd name="T112" fmla="*/ 619 w 624"/>
                <a:gd name="T113" fmla="*/ 0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4" h="1024">
                  <a:moveTo>
                    <a:pt x="488" y="283"/>
                  </a:moveTo>
                  <a:cubicBezTo>
                    <a:pt x="503" y="215"/>
                    <a:pt x="534" y="77"/>
                    <a:pt x="608" y="8"/>
                  </a:cubicBezTo>
                  <a:cubicBezTo>
                    <a:pt x="572" y="10"/>
                    <a:pt x="460" y="22"/>
                    <a:pt x="384" y="80"/>
                  </a:cubicBezTo>
                  <a:cubicBezTo>
                    <a:pt x="323" y="126"/>
                    <a:pt x="199" y="338"/>
                    <a:pt x="198" y="341"/>
                  </a:cubicBezTo>
                  <a:cubicBezTo>
                    <a:pt x="196" y="341"/>
                    <a:pt x="196" y="342"/>
                    <a:pt x="195" y="342"/>
                  </a:cubicBezTo>
                  <a:cubicBezTo>
                    <a:pt x="184" y="346"/>
                    <a:pt x="173" y="355"/>
                    <a:pt x="174" y="358"/>
                  </a:cubicBezTo>
                  <a:cubicBezTo>
                    <a:pt x="177" y="368"/>
                    <a:pt x="177" y="400"/>
                    <a:pt x="177" y="401"/>
                  </a:cubicBezTo>
                  <a:cubicBezTo>
                    <a:pt x="177" y="402"/>
                    <a:pt x="177" y="402"/>
                    <a:pt x="177" y="402"/>
                  </a:cubicBezTo>
                  <a:cubicBezTo>
                    <a:pt x="162" y="439"/>
                    <a:pt x="137" y="498"/>
                    <a:pt x="137" y="505"/>
                  </a:cubicBezTo>
                  <a:cubicBezTo>
                    <a:pt x="137" y="516"/>
                    <a:pt x="127" y="529"/>
                    <a:pt x="124" y="531"/>
                  </a:cubicBezTo>
                  <a:lnTo>
                    <a:pt x="114" y="562"/>
                  </a:lnTo>
                  <a:cubicBezTo>
                    <a:pt x="113" y="563"/>
                    <a:pt x="113" y="563"/>
                    <a:pt x="112" y="564"/>
                  </a:cubicBezTo>
                  <a:cubicBezTo>
                    <a:pt x="111" y="564"/>
                    <a:pt x="110" y="564"/>
                    <a:pt x="108" y="564"/>
                  </a:cubicBezTo>
                  <a:cubicBezTo>
                    <a:pt x="108" y="564"/>
                    <a:pt x="107" y="563"/>
                    <a:pt x="105" y="563"/>
                  </a:cubicBezTo>
                  <a:cubicBezTo>
                    <a:pt x="100" y="563"/>
                    <a:pt x="98" y="567"/>
                    <a:pt x="96" y="573"/>
                  </a:cubicBezTo>
                  <a:cubicBezTo>
                    <a:pt x="95" y="576"/>
                    <a:pt x="88" y="612"/>
                    <a:pt x="80" y="657"/>
                  </a:cubicBezTo>
                  <a:cubicBezTo>
                    <a:pt x="36" y="888"/>
                    <a:pt x="19" y="962"/>
                    <a:pt x="10" y="982"/>
                  </a:cubicBezTo>
                  <a:cubicBezTo>
                    <a:pt x="32" y="987"/>
                    <a:pt x="122" y="1006"/>
                    <a:pt x="170" y="1015"/>
                  </a:cubicBezTo>
                  <a:cubicBezTo>
                    <a:pt x="180" y="979"/>
                    <a:pt x="276" y="660"/>
                    <a:pt x="281" y="584"/>
                  </a:cubicBezTo>
                  <a:cubicBezTo>
                    <a:pt x="281" y="583"/>
                    <a:pt x="282" y="582"/>
                    <a:pt x="283" y="581"/>
                  </a:cubicBezTo>
                  <a:lnTo>
                    <a:pt x="321" y="551"/>
                  </a:lnTo>
                  <a:lnTo>
                    <a:pt x="349" y="481"/>
                  </a:lnTo>
                  <a:cubicBezTo>
                    <a:pt x="349" y="480"/>
                    <a:pt x="349" y="480"/>
                    <a:pt x="350" y="480"/>
                  </a:cubicBezTo>
                  <a:cubicBezTo>
                    <a:pt x="350" y="479"/>
                    <a:pt x="390" y="432"/>
                    <a:pt x="400" y="419"/>
                  </a:cubicBezTo>
                  <a:cubicBezTo>
                    <a:pt x="401" y="417"/>
                    <a:pt x="406" y="413"/>
                    <a:pt x="410" y="407"/>
                  </a:cubicBezTo>
                  <a:cubicBezTo>
                    <a:pt x="430" y="384"/>
                    <a:pt x="472" y="336"/>
                    <a:pt x="480" y="313"/>
                  </a:cubicBezTo>
                  <a:cubicBezTo>
                    <a:pt x="481" y="308"/>
                    <a:pt x="485" y="297"/>
                    <a:pt x="488" y="283"/>
                  </a:cubicBezTo>
                  <a:close/>
                  <a:moveTo>
                    <a:pt x="619" y="0"/>
                  </a:moveTo>
                  <a:cubicBezTo>
                    <a:pt x="621" y="0"/>
                    <a:pt x="622" y="1"/>
                    <a:pt x="623" y="2"/>
                  </a:cubicBezTo>
                  <a:cubicBezTo>
                    <a:pt x="623" y="3"/>
                    <a:pt x="623" y="5"/>
                    <a:pt x="622" y="7"/>
                  </a:cubicBezTo>
                  <a:cubicBezTo>
                    <a:pt x="544" y="71"/>
                    <a:pt x="511" y="215"/>
                    <a:pt x="495" y="285"/>
                  </a:cubicBezTo>
                  <a:cubicBezTo>
                    <a:pt x="491" y="300"/>
                    <a:pt x="489" y="310"/>
                    <a:pt x="487" y="316"/>
                  </a:cubicBezTo>
                  <a:cubicBezTo>
                    <a:pt x="479" y="339"/>
                    <a:pt x="438" y="386"/>
                    <a:pt x="416" y="411"/>
                  </a:cubicBezTo>
                  <a:cubicBezTo>
                    <a:pt x="412" y="417"/>
                    <a:pt x="408" y="422"/>
                    <a:pt x="406" y="424"/>
                  </a:cubicBezTo>
                  <a:cubicBezTo>
                    <a:pt x="395" y="437"/>
                    <a:pt x="361" y="480"/>
                    <a:pt x="356" y="484"/>
                  </a:cubicBezTo>
                  <a:lnTo>
                    <a:pt x="328" y="554"/>
                  </a:lnTo>
                  <a:cubicBezTo>
                    <a:pt x="327" y="555"/>
                    <a:pt x="327" y="555"/>
                    <a:pt x="327" y="556"/>
                  </a:cubicBezTo>
                  <a:lnTo>
                    <a:pt x="289" y="587"/>
                  </a:lnTo>
                  <a:cubicBezTo>
                    <a:pt x="282" y="670"/>
                    <a:pt x="181" y="1005"/>
                    <a:pt x="177" y="1019"/>
                  </a:cubicBezTo>
                  <a:cubicBezTo>
                    <a:pt x="176" y="1021"/>
                    <a:pt x="174" y="1023"/>
                    <a:pt x="173" y="1023"/>
                  </a:cubicBezTo>
                  <a:lnTo>
                    <a:pt x="172" y="1023"/>
                  </a:lnTo>
                  <a:cubicBezTo>
                    <a:pt x="118" y="1015"/>
                    <a:pt x="3" y="989"/>
                    <a:pt x="2" y="988"/>
                  </a:cubicBezTo>
                  <a:cubicBezTo>
                    <a:pt x="1" y="988"/>
                    <a:pt x="0" y="987"/>
                    <a:pt x="0" y="984"/>
                  </a:cubicBezTo>
                  <a:cubicBezTo>
                    <a:pt x="0" y="983"/>
                    <a:pt x="1" y="982"/>
                    <a:pt x="2" y="981"/>
                  </a:cubicBezTo>
                  <a:cubicBezTo>
                    <a:pt x="14" y="967"/>
                    <a:pt x="53" y="757"/>
                    <a:pt x="71" y="656"/>
                  </a:cubicBezTo>
                  <a:cubicBezTo>
                    <a:pt x="82" y="603"/>
                    <a:pt x="86" y="574"/>
                    <a:pt x="89" y="570"/>
                  </a:cubicBezTo>
                  <a:cubicBezTo>
                    <a:pt x="92" y="558"/>
                    <a:pt x="100" y="556"/>
                    <a:pt x="105" y="556"/>
                  </a:cubicBezTo>
                  <a:cubicBezTo>
                    <a:pt x="106" y="556"/>
                    <a:pt x="107" y="556"/>
                    <a:pt x="107" y="556"/>
                  </a:cubicBezTo>
                  <a:lnTo>
                    <a:pt x="117" y="529"/>
                  </a:lnTo>
                  <a:cubicBezTo>
                    <a:pt x="118" y="527"/>
                    <a:pt x="118" y="527"/>
                    <a:pt x="118" y="526"/>
                  </a:cubicBezTo>
                  <a:cubicBezTo>
                    <a:pt x="121" y="523"/>
                    <a:pt x="129" y="513"/>
                    <a:pt x="129" y="505"/>
                  </a:cubicBezTo>
                  <a:cubicBezTo>
                    <a:pt x="129" y="495"/>
                    <a:pt x="162" y="417"/>
                    <a:pt x="169" y="400"/>
                  </a:cubicBezTo>
                  <a:cubicBezTo>
                    <a:pt x="169" y="395"/>
                    <a:pt x="169" y="370"/>
                    <a:pt x="166" y="360"/>
                  </a:cubicBezTo>
                  <a:cubicBezTo>
                    <a:pt x="163" y="348"/>
                    <a:pt x="185" y="338"/>
                    <a:pt x="191" y="335"/>
                  </a:cubicBezTo>
                  <a:cubicBezTo>
                    <a:pt x="202" y="316"/>
                    <a:pt x="319" y="119"/>
                    <a:pt x="379" y="74"/>
                  </a:cubicBezTo>
                  <a:cubicBezTo>
                    <a:pt x="473" y="3"/>
                    <a:pt x="618" y="0"/>
                    <a:pt x="619" y="0"/>
                  </a:cubicBezTo>
                  <a:lnTo>
                    <a:pt x="619" y="0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6" name="íṥḷïde">
              <a:extLst>
                <a:ext uri="{FF2B5EF4-FFF2-40B4-BE49-F238E27FC236}">
                  <a16:creationId xmlns="" xmlns:a16="http://schemas.microsoft.com/office/drawing/2014/main" id="{1B901C63-C845-4D92-9C9B-116537000B7F}"/>
                </a:ext>
              </a:extLst>
            </p:cNvPr>
            <p:cNvSpPr/>
            <p:nvPr/>
          </p:nvSpPr>
          <p:spPr bwMode="auto">
            <a:xfrm>
              <a:off x="1355725" y="4746625"/>
              <a:ext cx="255588" cy="357188"/>
            </a:xfrm>
            <a:custGeom>
              <a:avLst/>
              <a:gdLst>
                <a:gd name="T0" fmla="*/ 499 w 712"/>
                <a:gd name="T1" fmla="*/ 292 h 993"/>
                <a:gd name="T2" fmla="*/ 703 w 712"/>
                <a:gd name="T3" fmla="*/ 0 h 993"/>
                <a:gd name="T4" fmla="*/ 694 w 712"/>
                <a:gd name="T5" fmla="*/ 161 h 993"/>
                <a:gd name="T6" fmla="*/ 582 w 712"/>
                <a:gd name="T7" fmla="*/ 415 h 993"/>
                <a:gd name="T8" fmla="*/ 507 w 712"/>
                <a:gd name="T9" fmla="*/ 564 h 993"/>
                <a:gd name="T10" fmla="*/ 488 w 712"/>
                <a:gd name="T11" fmla="*/ 604 h 993"/>
                <a:gd name="T12" fmla="*/ 464 w 712"/>
                <a:gd name="T13" fmla="*/ 660 h 993"/>
                <a:gd name="T14" fmla="*/ 360 w 712"/>
                <a:gd name="T15" fmla="*/ 773 h 993"/>
                <a:gd name="T16" fmla="*/ 177 w 712"/>
                <a:gd name="T17" fmla="*/ 934 h 993"/>
                <a:gd name="T18" fmla="*/ 128 w 712"/>
                <a:gd name="T19" fmla="*/ 992 h 993"/>
                <a:gd name="T20" fmla="*/ 0 w 712"/>
                <a:gd name="T21" fmla="*/ 827 h 993"/>
                <a:gd name="T22" fmla="*/ 96 w 712"/>
                <a:gd name="T23" fmla="*/ 754 h 993"/>
                <a:gd name="T24" fmla="*/ 222 w 712"/>
                <a:gd name="T25" fmla="*/ 635 h 993"/>
                <a:gd name="T26" fmla="*/ 306 w 712"/>
                <a:gd name="T27" fmla="*/ 549 h 993"/>
                <a:gd name="T28" fmla="*/ 310 w 712"/>
                <a:gd name="T29" fmla="*/ 507 h 993"/>
                <a:gd name="T30" fmla="*/ 331 w 712"/>
                <a:gd name="T31" fmla="*/ 455 h 993"/>
                <a:gd name="T32" fmla="*/ 499 w 712"/>
                <a:gd name="T33" fmla="*/ 292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993">
                  <a:moveTo>
                    <a:pt x="499" y="292"/>
                  </a:moveTo>
                  <a:cubicBezTo>
                    <a:pt x="499" y="292"/>
                    <a:pt x="611" y="182"/>
                    <a:pt x="703" y="0"/>
                  </a:cubicBezTo>
                  <a:cubicBezTo>
                    <a:pt x="703" y="0"/>
                    <a:pt x="711" y="121"/>
                    <a:pt x="694" y="161"/>
                  </a:cubicBezTo>
                  <a:cubicBezTo>
                    <a:pt x="678" y="200"/>
                    <a:pt x="582" y="415"/>
                    <a:pt x="582" y="415"/>
                  </a:cubicBezTo>
                  <a:cubicBezTo>
                    <a:pt x="582" y="415"/>
                    <a:pt x="578" y="486"/>
                    <a:pt x="507" y="564"/>
                  </a:cubicBezTo>
                  <a:cubicBezTo>
                    <a:pt x="488" y="584"/>
                    <a:pt x="488" y="604"/>
                    <a:pt x="488" y="604"/>
                  </a:cubicBezTo>
                  <a:cubicBezTo>
                    <a:pt x="488" y="604"/>
                    <a:pt x="478" y="641"/>
                    <a:pt x="464" y="660"/>
                  </a:cubicBezTo>
                  <a:cubicBezTo>
                    <a:pt x="451" y="677"/>
                    <a:pt x="365" y="766"/>
                    <a:pt x="360" y="773"/>
                  </a:cubicBezTo>
                  <a:cubicBezTo>
                    <a:pt x="354" y="781"/>
                    <a:pt x="187" y="919"/>
                    <a:pt x="177" y="934"/>
                  </a:cubicBezTo>
                  <a:cubicBezTo>
                    <a:pt x="167" y="951"/>
                    <a:pt x="128" y="992"/>
                    <a:pt x="128" y="992"/>
                  </a:cubicBezTo>
                  <a:cubicBezTo>
                    <a:pt x="128" y="992"/>
                    <a:pt x="10" y="864"/>
                    <a:pt x="0" y="827"/>
                  </a:cubicBezTo>
                  <a:cubicBezTo>
                    <a:pt x="0" y="827"/>
                    <a:pt x="89" y="767"/>
                    <a:pt x="96" y="754"/>
                  </a:cubicBezTo>
                  <a:cubicBezTo>
                    <a:pt x="104" y="741"/>
                    <a:pt x="222" y="635"/>
                    <a:pt x="222" y="635"/>
                  </a:cubicBezTo>
                  <a:cubicBezTo>
                    <a:pt x="222" y="635"/>
                    <a:pt x="287" y="551"/>
                    <a:pt x="306" y="549"/>
                  </a:cubicBezTo>
                  <a:cubicBezTo>
                    <a:pt x="306" y="549"/>
                    <a:pt x="297" y="512"/>
                    <a:pt x="310" y="507"/>
                  </a:cubicBezTo>
                  <a:cubicBezTo>
                    <a:pt x="324" y="501"/>
                    <a:pt x="331" y="455"/>
                    <a:pt x="331" y="455"/>
                  </a:cubicBezTo>
                  <a:cubicBezTo>
                    <a:pt x="331" y="455"/>
                    <a:pt x="420" y="286"/>
                    <a:pt x="499" y="292"/>
                  </a:cubicBezTo>
                </a:path>
              </a:pathLst>
            </a:custGeom>
            <a:solidFill>
              <a:srgbClr val="E2F4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7" name="îŝlïďé">
              <a:extLst>
                <a:ext uri="{FF2B5EF4-FFF2-40B4-BE49-F238E27FC236}">
                  <a16:creationId xmlns="" xmlns:a16="http://schemas.microsoft.com/office/drawing/2014/main" id="{A374627E-8CD7-42DF-89D0-4272E2671E30}"/>
                </a:ext>
              </a:extLst>
            </p:cNvPr>
            <p:cNvSpPr/>
            <p:nvPr/>
          </p:nvSpPr>
          <p:spPr bwMode="auto">
            <a:xfrm>
              <a:off x="1354138" y="4745038"/>
              <a:ext cx="260350" cy="358775"/>
            </a:xfrm>
            <a:custGeom>
              <a:avLst/>
              <a:gdLst>
                <a:gd name="T0" fmla="*/ 698 w 722"/>
                <a:gd name="T1" fmla="*/ 162 h 998"/>
                <a:gd name="T2" fmla="*/ 706 w 722"/>
                <a:gd name="T3" fmla="*/ 18 h 998"/>
                <a:gd name="T4" fmla="*/ 507 w 722"/>
                <a:gd name="T5" fmla="*/ 297 h 998"/>
                <a:gd name="T6" fmla="*/ 505 w 722"/>
                <a:gd name="T7" fmla="*/ 298 h 998"/>
                <a:gd name="T8" fmla="*/ 341 w 722"/>
                <a:gd name="T9" fmla="*/ 459 h 998"/>
                <a:gd name="T10" fmla="*/ 318 w 722"/>
                <a:gd name="T11" fmla="*/ 513 h 998"/>
                <a:gd name="T12" fmla="*/ 314 w 722"/>
                <a:gd name="T13" fmla="*/ 550 h 998"/>
                <a:gd name="T14" fmla="*/ 314 w 722"/>
                <a:gd name="T15" fmla="*/ 554 h 998"/>
                <a:gd name="T16" fmla="*/ 311 w 722"/>
                <a:gd name="T17" fmla="*/ 555 h 998"/>
                <a:gd name="T18" fmla="*/ 230 w 722"/>
                <a:gd name="T19" fmla="*/ 640 h 998"/>
                <a:gd name="T20" fmla="*/ 230 w 722"/>
                <a:gd name="T21" fmla="*/ 641 h 998"/>
                <a:gd name="T22" fmla="*/ 104 w 722"/>
                <a:gd name="T23" fmla="*/ 757 h 998"/>
                <a:gd name="T24" fmla="*/ 9 w 722"/>
                <a:gd name="T25" fmla="*/ 830 h 998"/>
                <a:gd name="T26" fmla="*/ 133 w 722"/>
                <a:gd name="T27" fmla="*/ 988 h 998"/>
                <a:gd name="T28" fmla="*/ 180 w 722"/>
                <a:gd name="T29" fmla="*/ 935 h 998"/>
                <a:gd name="T30" fmla="*/ 296 w 722"/>
                <a:gd name="T31" fmla="*/ 830 h 998"/>
                <a:gd name="T32" fmla="*/ 362 w 722"/>
                <a:gd name="T33" fmla="*/ 772 h 998"/>
                <a:gd name="T34" fmla="*/ 400 w 722"/>
                <a:gd name="T35" fmla="*/ 731 h 998"/>
                <a:gd name="T36" fmla="*/ 468 w 722"/>
                <a:gd name="T37" fmla="*/ 659 h 998"/>
                <a:gd name="T38" fmla="*/ 490 w 722"/>
                <a:gd name="T39" fmla="*/ 606 h 998"/>
                <a:gd name="T40" fmla="*/ 509 w 722"/>
                <a:gd name="T41" fmla="*/ 564 h 998"/>
                <a:gd name="T42" fmla="*/ 585 w 722"/>
                <a:gd name="T43" fmla="*/ 418 h 998"/>
                <a:gd name="T44" fmla="*/ 585 w 722"/>
                <a:gd name="T45" fmla="*/ 416 h 998"/>
                <a:gd name="T46" fmla="*/ 698 w 722"/>
                <a:gd name="T47" fmla="*/ 162 h 998"/>
                <a:gd name="T48" fmla="*/ 709 w 722"/>
                <a:gd name="T49" fmla="*/ 0 h 998"/>
                <a:gd name="T50" fmla="*/ 713 w 722"/>
                <a:gd name="T51" fmla="*/ 3 h 998"/>
                <a:gd name="T52" fmla="*/ 705 w 722"/>
                <a:gd name="T53" fmla="*/ 165 h 998"/>
                <a:gd name="T54" fmla="*/ 592 w 722"/>
                <a:gd name="T55" fmla="*/ 419 h 998"/>
                <a:gd name="T56" fmla="*/ 515 w 722"/>
                <a:gd name="T57" fmla="*/ 570 h 998"/>
                <a:gd name="T58" fmla="*/ 498 w 722"/>
                <a:gd name="T59" fmla="*/ 606 h 998"/>
                <a:gd name="T60" fmla="*/ 498 w 722"/>
                <a:gd name="T61" fmla="*/ 607 h 998"/>
                <a:gd name="T62" fmla="*/ 474 w 722"/>
                <a:gd name="T63" fmla="*/ 664 h 998"/>
                <a:gd name="T64" fmla="*/ 406 w 722"/>
                <a:gd name="T65" fmla="*/ 736 h 998"/>
                <a:gd name="T66" fmla="*/ 369 w 722"/>
                <a:gd name="T67" fmla="*/ 776 h 998"/>
                <a:gd name="T68" fmla="*/ 301 w 722"/>
                <a:gd name="T69" fmla="*/ 836 h 998"/>
                <a:gd name="T70" fmla="*/ 186 w 722"/>
                <a:gd name="T71" fmla="*/ 938 h 998"/>
                <a:gd name="T72" fmla="*/ 136 w 722"/>
                <a:gd name="T73" fmla="*/ 996 h 998"/>
                <a:gd name="T74" fmla="*/ 133 w 722"/>
                <a:gd name="T75" fmla="*/ 997 h 998"/>
                <a:gd name="T76" fmla="*/ 130 w 722"/>
                <a:gd name="T77" fmla="*/ 996 h 998"/>
                <a:gd name="T78" fmla="*/ 1 w 722"/>
                <a:gd name="T79" fmla="*/ 830 h 998"/>
                <a:gd name="T80" fmla="*/ 2 w 722"/>
                <a:gd name="T81" fmla="*/ 826 h 998"/>
                <a:gd name="T82" fmla="*/ 98 w 722"/>
                <a:gd name="T83" fmla="*/ 754 h 998"/>
                <a:gd name="T84" fmla="*/ 224 w 722"/>
                <a:gd name="T85" fmla="*/ 635 h 998"/>
                <a:gd name="T86" fmla="*/ 306 w 722"/>
                <a:gd name="T87" fmla="*/ 549 h 998"/>
                <a:gd name="T88" fmla="*/ 314 w 722"/>
                <a:gd name="T89" fmla="*/ 506 h 998"/>
                <a:gd name="T90" fmla="*/ 333 w 722"/>
                <a:gd name="T91" fmla="*/ 456 h 998"/>
                <a:gd name="T92" fmla="*/ 334 w 722"/>
                <a:gd name="T93" fmla="*/ 455 h 998"/>
                <a:gd name="T94" fmla="*/ 501 w 722"/>
                <a:gd name="T95" fmla="*/ 290 h 998"/>
                <a:gd name="T96" fmla="*/ 504 w 722"/>
                <a:gd name="T97" fmla="*/ 290 h 998"/>
                <a:gd name="T98" fmla="*/ 706 w 722"/>
                <a:gd name="T99" fmla="*/ 2 h 998"/>
                <a:gd name="T100" fmla="*/ 709 w 722"/>
                <a:gd name="T101" fmla="*/ 0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2" h="998">
                  <a:moveTo>
                    <a:pt x="698" y="162"/>
                  </a:moveTo>
                  <a:cubicBezTo>
                    <a:pt x="709" y="132"/>
                    <a:pt x="707" y="51"/>
                    <a:pt x="706" y="18"/>
                  </a:cubicBezTo>
                  <a:cubicBezTo>
                    <a:pt x="616" y="190"/>
                    <a:pt x="508" y="296"/>
                    <a:pt x="507" y="297"/>
                  </a:cubicBezTo>
                  <a:cubicBezTo>
                    <a:pt x="506" y="298"/>
                    <a:pt x="506" y="298"/>
                    <a:pt x="505" y="298"/>
                  </a:cubicBezTo>
                  <a:cubicBezTo>
                    <a:pt x="432" y="294"/>
                    <a:pt x="347" y="448"/>
                    <a:pt x="341" y="459"/>
                  </a:cubicBezTo>
                  <a:cubicBezTo>
                    <a:pt x="339" y="468"/>
                    <a:pt x="332" y="507"/>
                    <a:pt x="318" y="513"/>
                  </a:cubicBezTo>
                  <a:cubicBezTo>
                    <a:pt x="311" y="515"/>
                    <a:pt x="312" y="536"/>
                    <a:pt x="314" y="550"/>
                  </a:cubicBezTo>
                  <a:cubicBezTo>
                    <a:pt x="314" y="551"/>
                    <a:pt x="314" y="554"/>
                    <a:pt x="314" y="554"/>
                  </a:cubicBezTo>
                  <a:cubicBezTo>
                    <a:pt x="313" y="555"/>
                    <a:pt x="312" y="555"/>
                    <a:pt x="311" y="555"/>
                  </a:cubicBezTo>
                  <a:cubicBezTo>
                    <a:pt x="299" y="557"/>
                    <a:pt x="255" y="608"/>
                    <a:pt x="230" y="640"/>
                  </a:cubicBezTo>
                  <a:lnTo>
                    <a:pt x="230" y="641"/>
                  </a:lnTo>
                  <a:cubicBezTo>
                    <a:pt x="182" y="683"/>
                    <a:pt x="110" y="749"/>
                    <a:pt x="104" y="757"/>
                  </a:cubicBezTo>
                  <a:cubicBezTo>
                    <a:pt x="97" y="770"/>
                    <a:pt x="25" y="820"/>
                    <a:pt x="9" y="830"/>
                  </a:cubicBezTo>
                  <a:cubicBezTo>
                    <a:pt x="22" y="866"/>
                    <a:pt x="115" y="968"/>
                    <a:pt x="133" y="988"/>
                  </a:cubicBezTo>
                  <a:cubicBezTo>
                    <a:pt x="141" y="979"/>
                    <a:pt x="170" y="947"/>
                    <a:pt x="180" y="935"/>
                  </a:cubicBezTo>
                  <a:cubicBezTo>
                    <a:pt x="186" y="925"/>
                    <a:pt x="233" y="884"/>
                    <a:pt x="296" y="830"/>
                  </a:cubicBezTo>
                  <a:cubicBezTo>
                    <a:pt x="327" y="803"/>
                    <a:pt x="360" y="776"/>
                    <a:pt x="362" y="772"/>
                  </a:cubicBezTo>
                  <a:cubicBezTo>
                    <a:pt x="364" y="769"/>
                    <a:pt x="378" y="755"/>
                    <a:pt x="400" y="731"/>
                  </a:cubicBezTo>
                  <a:cubicBezTo>
                    <a:pt x="427" y="704"/>
                    <a:pt x="460" y="670"/>
                    <a:pt x="468" y="659"/>
                  </a:cubicBezTo>
                  <a:cubicBezTo>
                    <a:pt x="479" y="642"/>
                    <a:pt x="489" y="610"/>
                    <a:pt x="490" y="606"/>
                  </a:cubicBezTo>
                  <a:cubicBezTo>
                    <a:pt x="491" y="603"/>
                    <a:pt x="492" y="583"/>
                    <a:pt x="509" y="564"/>
                  </a:cubicBezTo>
                  <a:cubicBezTo>
                    <a:pt x="578" y="488"/>
                    <a:pt x="585" y="418"/>
                    <a:pt x="585" y="418"/>
                  </a:cubicBezTo>
                  <a:cubicBezTo>
                    <a:pt x="585" y="417"/>
                    <a:pt x="585" y="417"/>
                    <a:pt x="585" y="416"/>
                  </a:cubicBezTo>
                  <a:cubicBezTo>
                    <a:pt x="586" y="414"/>
                    <a:pt x="682" y="201"/>
                    <a:pt x="698" y="162"/>
                  </a:cubicBezTo>
                  <a:close/>
                  <a:moveTo>
                    <a:pt x="709" y="0"/>
                  </a:moveTo>
                  <a:cubicBezTo>
                    <a:pt x="712" y="0"/>
                    <a:pt x="713" y="2"/>
                    <a:pt x="713" y="3"/>
                  </a:cubicBezTo>
                  <a:cubicBezTo>
                    <a:pt x="713" y="9"/>
                    <a:pt x="721" y="125"/>
                    <a:pt x="705" y="165"/>
                  </a:cubicBezTo>
                  <a:cubicBezTo>
                    <a:pt x="689" y="203"/>
                    <a:pt x="598" y="406"/>
                    <a:pt x="592" y="419"/>
                  </a:cubicBezTo>
                  <a:cubicBezTo>
                    <a:pt x="592" y="427"/>
                    <a:pt x="584" y="495"/>
                    <a:pt x="515" y="570"/>
                  </a:cubicBezTo>
                  <a:cubicBezTo>
                    <a:pt x="499" y="588"/>
                    <a:pt x="498" y="606"/>
                    <a:pt x="498" y="606"/>
                  </a:cubicBezTo>
                  <a:cubicBezTo>
                    <a:pt x="498" y="607"/>
                    <a:pt x="498" y="607"/>
                    <a:pt x="498" y="607"/>
                  </a:cubicBezTo>
                  <a:cubicBezTo>
                    <a:pt x="498" y="608"/>
                    <a:pt x="487" y="646"/>
                    <a:pt x="474" y="664"/>
                  </a:cubicBezTo>
                  <a:cubicBezTo>
                    <a:pt x="467" y="675"/>
                    <a:pt x="434" y="707"/>
                    <a:pt x="406" y="736"/>
                  </a:cubicBezTo>
                  <a:cubicBezTo>
                    <a:pt x="389" y="755"/>
                    <a:pt x="371" y="773"/>
                    <a:pt x="369" y="776"/>
                  </a:cubicBezTo>
                  <a:cubicBezTo>
                    <a:pt x="367" y="779"/>
                    <a:pt x="348" y="797"/>
                    <a:pt x="301" y="836"/>
                  </a:cubicBezTo>
                  <a:cubicBezTo>
                    <a:pt x="255" y="875"/>
                    <a:pt x="191" y="930"/>
                    <a:pt x="186" y="938"/>
                  </a:cubicBezTo>
                  <a:cubicBezTo>
                    <a:pt x="175" y="954"/>
                    <a:pt x="137" y="995"/>
                    <a:pt x="136" y="996"/>
                  </a:cubicBezTo>
                  <a:cubicBezTo>
                    <a:pt x="134" y="997"/>
                    <a:pt x="133" y="997"/>
                    <a:pt x="133" y="997"/>
                  </a:cubicBezTo>
                  <a:cubicBezTo>
                    <a:pt x="132" y="997"/>
                    <a:pt x="131" y="997"/>
                    <a:pt x="130" y="996"/>
                  </a:cubicBezTo>
                  <a:cubicBezTo>
                    <a:pt x="125" y="992"/>
                    <a:pt x="11" y="867"/>
                    <a:pt x="1" y="830"/>
                  </a:cubicBezTo>
                  <a:cubicBezTo>
                    <a:pt x="0" y="828"/>
                    <a:pt x="1" y="827"/>
                    <a:pt x="2" y="826"/>
                  </a:cubicBezTo>
                  <a:cubicBezTo>
                    <a:pt x="38" y="801"/>
                    <a:pt x="93" y="763"/>
                    <a:pt x="98" y="754"/>
                  </a:cubicBezTo>
                  <a:cubicBezTo>
                    <a:pt x="105" y="741"/>
                    <a:pt x="211" y="647"/>
                    <a:pt x="224" y="635"/>
                  </a:cubicBezTo>
                  <a:cubicBezTo>
                    <a:pt x="235" y="621"/>
                    <a:pt x="284" y="558"/>
                    <a:pt x="306" y="549"/>
                  </a:cubicBezTo>
                  <a:cubicBezTo>
                    <a:pt x="304" y="538"/>
                    <a:pt x="302" y="511"/>
                    <a:pt x="314" y="506"/>
                  </a:cubicBezTo>
                  <a:cubicBezTo>
                    <a:pt x="323" y="503"/>
                    <a:pt x="330" y="475"/>
                    <a:pt x="333" y="456"/>
                  </a:cubicBezTo>
                  <a:cubicBezTo>
                    <a:pt x="333" y="456"/>
                    <a:pt x="333" y="455"/>
                    <a:pt x="334" y="455"/>
                  </a:cubicBezTo>
                  <a:cubicBezTo>
                    <a:pt x="338" y="448"/>
                    <a:pt x="422" y="290"/>
                    <a:pt x="501" y="290"/>
                  </a:cubicBezTo>
                  <a:cubicBezTo>
                    <a:pt x="501" y="290"/>
                    <a:pt x="503" y="290"/>
                    <a:pt x="504" y="290"/>
                  </a:cubicBezTo>
                  <a:cubicBezTo>
                    <a:pt x="515" y="279"/>
                    <a:pt x="620" y="171"/>
                    <a:pt x="706" y="2"/>
                  </a:cubicBezTo>
                  <a:cubicBezTo>
                    <a:pt x="706" y="1"/>
                    <a:pt x="708" y="0"/>
                    <a:pt x="709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8" name="îsḷïďé">
              <a:extLst>
                <a:ext uri="{FF2B5EF4-FFF2-40B4-BE49-F238E27FC236}">
                  <a16:creationId xmlns="" xmlns:a16="http://schemas.microsoft.com/office/drawing/2014/main" id="{A453610E-43BB-4D2B-9EF9-A757161E210D}"/>
                </a:ext>
              </a:extLst>
            </p:cNvPr>
            <p:cNvSpPr/>
            <p:nvPr/>
          </p:nvSpPr>
          <p:spPr bwMode="auto">
            <a:xfrm>
              <a:off x="1420813" y="4873625"/>
              <a:ext cx="50800" cy="44450"/>
            </a:xfrm>
            <a:custGeom>
              <a:avLst/>
              <a:gdLst>
                <a:gd name="T0" fmla="*/ 27 w 143"/>
                <a:gd name="T1" fmla="*/ 41 h 123"/>
                <a:gd name="T2" fmla="*/ 138 w 143"/>
                <a:gd name="T3" fmla="*/ 26 h 123"/>
                <a:gd name="T4" fmla="*/ 89 w 143"/>
                <a:gd name="T5" fmla="*/ 120 h 123"/>
                <a:gd name="T6" fmla="*/ 27 w 143"/>
                <a:gd name="T7" fmla="*/ 4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3" h="123">
                  <a:moveTo>
                    <a:pt x="27" y="41"/>
                  </a:moveTo>
                  <a:cubicBezTo>
                    <a:pt x="0" y="0"/>
                    <a:pt x="133" y="11"/>
                    <a:pt x="138" y="26"/>
                  </a:cubicBezTo>
                  <a:cubicBezTo>
                    <a:pt x="142" y="41"/>
                    <a:pt x="119" y="122"/>
                    <a:pt x="89" y="120"/>
                  </a:cubicBezTo>
                  <a:cubicBezTo>
                    <a:pt x="58" y="119"/>
                    <a:pt x="27" y="41"/>
                    <a:pt x="27" y="41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79" name="ï$ḻïďè">
              <a:extLst>
                <a:ext uri="{FF2B5EF4-FFF2-40B4-BE49-F238E27FC236}">
                  <a16:creationId xmlns="" xmlns:a16="http://schemas.microsoft.com/office/drawing/2014/main" id="{F016DA6F-FE6D-4BAA-8AE5-E826EE7ED916}"/>
                </a:ext>
              </a:extLst>
            </p:cNvPr>
            <p:cNvSpPr/>
            <p:nvPr/>
          </p:nvSpPr>
          <p:spPr bwMode="auto">
            <a:xfrm>
              <a:off x="1427163" y="4876800"/>
              <a:ext cx="46037" cy="42863"/>
            </a:xfrm>
            <a:custGeom>
              <a:avLst/>
              <a:gdLst>
                <a:gd name="T0" fmla="*/ 92 w 127"/>
                <a:gd name="T1" fmla="*/ 94 h 117"/>
                <a:gd name="T2" fmla="*/ 116 w 127"/>
                <a:gd name="T3" fmla="*/ 18 h 117"/>
                <a:gd name="T4" fmla="*/ 56 w 127"/>
                <a:gd name="T5" fmla="*/ 8 h 117"/>
                <a:gd name="T6" fmla="*/ 10 w 127"/>
                <a:gd name="T7" fmla="*/ 20 h 117"/>
                <a:gd name="T8" fmla="*/ 12 w 127"/>
                <a:gd name="T9" fmla="*/ 30 h 117"/>
                <a:gd name="T10" fmla="*/ 12 w 127"/>
                <a:gd name="T11" fmla="*/ 31 h 117"/>
                <a:gd name="T12" fmla="*/ 71 w 127"/>
                <a:gd name="T13" fmla="*/ 108 h 117"/>
                <a:gd name="T14" fmla="*/ 72 w 127"/>
                <a:gd name="T15" fmla="*/ 108 h 117"/>
                <a:gd name="T16" fmla="*/ 92 w 127"/>
                <a:gd name="T17" fmla="*/ 94 h 117"/>
                <a:gd name="T18" fmla="*/ 56 w 127"/>
                <a:gd name="T19" fmla="*/ 0 h 117"/>
                <a:gd name="T20" fmla="*/ 123 w 127"/>
                <a:gd name="T21" fmla="*/ 16 h 117"/>
                <a:gd name="T22" fmla="*/ 98 w 127"/>
                <a:gd name="T23" fmla="*/ 99 h 117"/>
                <a:gd name="T24" fmla="*/ 72 w 127"/>
                <a:gd name="T25" fmla="*/ 116 h 117"/>
                <a:gd name="T26" fmla="*/ 71 w 127"/>
                <a:gd name="T27" fmla="*/ 116 h 117"/>
                <a:gd name="T28" fmla="*/ 5 w 127"/>
                <a:gd name="T29" fmla="*/ 35 h 117"/>
                <a:gd name="T30" fmla="*/ 3 w 127"/>
                <a:gd name="T31" fmla="*/ 16 h 117"/>
                <a:gd name="T32" fmla="*/ 56 w 127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117">
                  <a:moveTo>
                    <a:pt x="92" y="94"/>
                  </a:moveTo>
                  <a:cubicBezTo>
                    <a:pt x="108" y="70"/>
                    <a:pt x="118" y="28"/>
                    <a:pt x="116" y="18"/>
                  </a:cubicBezTo>
                  <a:cubicBezTo>
                    <a:pt x="114" y="15"/>
                    <a:pt x="86" y="8"/>
                    <a:pt x="56" y="8"/>
                  </a:cubicBezTo>
                  <a:cubicBezTo>
                    <a:pt x="32" y="8"/>
                    <a:pt x="13" y="13"/>
                    <a:pt x="10" y="20"/>
                  </a:cubicBezTo>
                  <a:cubicBezTo>
                    <a:pt x="10" y="21"/>
                    <a:pt x="8" y="23"/>
                    <a:pt x="12" y="30"/>
                  </a:cubicBezTo>
                  <a:lnTo>
                    <a:pt x="12" y="31"/>
                  </a:lnTo>
                  <a:cubicBezTo>
                    <a:pt x="20" y="51"/>
                    <a:pt x="48" y="107"/>
                    <a:pt x="71" y="108"/>
                  </a:cubicBezTo>
                  <a:cubicBezTo>
                    <a:pt x="71" y="108"/>
                    <a:pt x="71" y="108"/>
                    <a:pt x="72" y="108"/>
                  </a:cubicBezTo>
                  <a:cubicBezTo>
                    <a:pt x="80" y="108"/>
                    <a:pt x="87" y="100"/>
                    <a:pt x="92" y="94"/>
                  </a:cubicBezTo>
                  <a:close/>
                  <a:moveTo>
                    <a:pt x="56" y="0"/>
                  </a:moveTo>
                  <a:cubicBezTo>
                    <a:pt x="76" y="0"/>
                    <a:pt x="119" y="4"/>
                    <a:pt x="123" y="16"/>
                  </a:cubicBezTo>
                  <a:cubicBezTo>
                    <a:pt x="126" y="28"/>
                    <a:pt x="116" y="74"/>
                    <a:pt x="98" y="99"/>
                  </a:cubicBezTo>
                  <a:cubicBezTo>
                    <a:pt x="89" y="110"/>
                    <a:pt x="81" y="116"/>
                    <a:pt x="72" y="116"/>
                  </a:cubicBezTo>
                  <a:cubicBezTo>
                    <a:pt x="71" y="116"/>
                    <a:pt x="71" y="116"/>
                    <a:pt x="71" y="116"/>
                  </a:cubicBezTo>
                  <a:cubicBezTo>
                    <a:pt x="39" y="114"/>
                    <a:pt x="8" y="41"/>
                    <a:pt x="5" y="35"/>
                  </a:cubicBezTo>
                  <a:cubicBezTo>
                    <a:pt x="0" y="26"/>
                    <a:pt x="1" y="20"/>
                    <a:pt x="3" y="16"/>
                  </a:cubicBezTo>
                  <a:cubicBezTo>
                    <a:pt x="10" y="3"/>
                    <a:pt x="35" y="0"/>
                    <a:pt x="56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0" name="iŝḷïḍe">
              <a:extLst>
                <a:ext uri="{FF2B5EF4-FFF2-40B4-BE49-F238E27FC236}">
                  <a16:creationId xmlns="" xmlns:a16="http://schemas.microsoft.com/office/drawing/2014/main" id="{4B79FA48-435D-4706-9933-26AD4DD738DA}"/>
                </a:ext>
              </a:extLst>
            </p:cNvPr>
            <p:cNvSpPr/>
            <p:nvPr/>
          </p:nvSpPr>
          <p:spPr bwMode="auto">
            <a:xfrm>
              <a:off x="1333500" y="4775200"/>
              <a:ext cx="31750" cy="31750"/>
            </a:xfrm>
            <a:custGeom>
              <a:avLst/>
              <a:gdLst>
                <a:gd name="T0" fmla="*/ 2 w 87"/>
                <a:gd name="T1" fmla="*/ 19 h 87"/>
                <a:gd name="T2" fmla="*/ 72 w 87"/>
                <a:gd name="T3" fmla="*/ 27 h 87"/>
                <a:gd name="T4" fmla="*/ 80 w 87"/>
                <a:gd name="T5" fmla="*/ 86 h 87"/>
                <a:gd name="T6" fmla="*/ 2 w 87"/>
                <a:gd name="T7" fmla="*/ 1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87">
                  <a:moveTo>
                    <a:pt x="2" y="19"/>
                  </a:moveTo>
                  <a:cubicBezTo>
                    <a:pt x="3" y="0"/>
                    <a:pt x="57" y="10"/>
                    <a:pt x="72" y="27"/>
                  </a:cubicBezTo>
                  <a:cubicBezTo>
                    <a:pt x="86" y="44"/>
                    <a:pt x="80" y="86"/>
                    <a:pt x="80" y="86"/>
                  </a:cubicBezTo>
                  <a:cubicBezTo>
                    <a:pt x="80" y="86"/>
                    <a:pt x="0" y="55"/>
                    <a:pt x="2" y="19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1" name="iṩḻïḋé">
              <a:extLst>
                <a:ext uri="{FF2B5EF4-FFF2-40B4-BE49-F238E27FC236}">
                  <a16:creationId xmlns="" xmlns:a16="http://schemas.microsoft.com/office/drawing/2014/main" id="{73D5B623-D97C-436D-BB50-FB31B05AE9D2}"/>
                </a:ext>
              </a:extLst>
            </p:cNvPr>
            <p:cNvSpPr/>
            <p:nvPr/>
          </p:nvSpPr>
          <p:spPr bwMode="auto">
            <a:xfrm>
              <a:off x="1331913" y="4776788"/>
              <a:ext cx="34925" cy="31750"/>
            </a:xfrm>
            <a:custGeom>
              <a:avLst/>
              <a:gdLst>
                <a:gd name="T0" fmla="*/ 81 w 97"/>
                <a:gd name="T1" fmla="*/ 77 h 87"/>
                <a:gd name="T2" fmla="*/ 74 w 97"/>
                <a:gd name="T3" fmla="*/ 25 h 87"/>
                <a:gd name="T4" fmla="*/ 25 w 97"/>
                <a:gd name="T5" fmla="*/ 8 h 87"/>
                <a:gd name="T6" fmla="*/ 11 w 97"/>
                <a:gd name="T7" fmla="*/ 15 h 87"/>
                <a:gd name="T8" fmla="*/ 81 w 97"/>
                <a:gd name="T9" fmla="*/ 77 h 87"/>
                <a:gd name="T10" fmla="*/ 25 w 97"/>
                <a:gd name="T11" fmla="*/ 0 h 87"/>
                <a:gd name="T12" fmla="*/ 80 w 97"/>
                <a:gd name="T13" fmla="*/ 21 h 87"/>
                <a:gd name="T14" fmla="*/ 88 w 97"/>
                <a:gd name="T15" fmla="*/ 83 h 87"/>
                <a:gd name="T16" fmla="*/ 87 w 97"/>
                <a:gd name="T17" fmla="*/ 86 h 87"/>
                <a:gd name="T18" fmla="*/ 85 w 97"/>
                <a:gd name="T19" fmla="*/ 86 h 87"/>
                <a:gd name="T20" fmla="*/ 83 w 97"/>
                <a:gd name="T21" fmla="*/ 86 h 87"/>
                <a:gd name="T22" fmla="*/ 3 w 97"/>
                <a:gd name="T23" fmla="*/ 15 h 87"/>
                <a:gd name="T24" fmla="*/ 25 w 9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87">
                  <a:moveTo>
                    <a:pt x="81" y="77"/>
                  </a:moveTo>
                  <a:cubicBezTo>
                    <a:pt x="82" y="65"/>
                    <a:pt x="85" y="38"/>
                    <a:pt x="74" y="25"/>
                  </a:cubicBezTo>
                  <a:cubicBezTo>
                    <a:pt x="66" y="16"/>
                    <a:pt x="43" y="8"/>
                    <a:pt x="25" y="8"/>
                  </a:cubicBezTo>
                  <a:cubicBezTo>
                    <a:pt x="22" y="8"/>
                    <a:pt x="11" y="9"/>
                    <a:pt x="11" y="15"/>
                  </a:cubicBezTo>
                  <a:cubicBezTo>
                    <a:pt x="9" y="41"/>
                    <a:pt x="57" y="67"/>
                    <a:pt x="81" y="77"/>
                  </a:cubicBezTo>
                  <a:close/>
                  <a:moveTo>
                    <a:pt x="25" y="0"/>
                  </a:moveTo>
                  <a:cubicBezTo>
                    <a:pt x="43" y="0"/>
                    <a:pt x="69" y="8"/>
                    <a:pt x="80" y="21"/>
                  </a:cubicBezTo>
                  <a:cubicBezTo>
                    <a:pt x="96" y="39"/>
                    <a:pt x="88" y="81"/>
                    <a:pt x="88" y="83"/>
                  </a:cubicBezTo>
                  <a:cubicBezTo>
                    <a:pt x="88" y="84"/>
                    <a:pt x="87" y="85"/>
                    <a:pt x="87" y="86"/>
                  </a:cubicBezTo>
                  <a:cubicBezTo>
                    <a:pt x="86" y="86"/>
                    <a:pt x="85" y="86"/>
                    <a:pt x="85" y="86"/>
                  </a:cubicBezTo>
                  <a:cubicBezTo>
                    <a:pt x="83" y="86"/>
                    <a:pt x="83" y="86"/>
                    <a:pt x="83" y="86"/>
                  </a:cubicBezTo>
                  <a:cubicBezTo>
                    <a:pt x="80" y="85"/>
                    <a:pt x="0" y="54"/>
                    <a:pt x="3" y="15"/>
                  </a:cubicBezTo>
                  <a:cubicBezTo>
                    <a:pt x="3" y="10"/>
                    <a:pt x="5" y="0"/>
                    <a:pt x="25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2" name="iṩḷíḑè">
              <a:extLst>
                <a:ext uri="{FF2B5EF4-FFF2-40B4-BE49-F238E27FC236}">
                  <a16:creationId xmlns="" xmlns:a16="http://schemas.microsoft.com/office/drawing/2014/main" id="{94DE49C6-B61C-463D-B95A-258D1A28BDBD}"/>
                </a:ext>
              </a:extLst>
            </p:cNvPr>
            <p:cNvSpPr/>
            <p:nvPr/>
          </p:nvSpPr>
          <p:spPr bwMode="auto">
            <a:xfrm>
              <a:off x="1508125" y="4760913"/>
              <a:ext cx="20638" cy="34925"/>
            </a:xfrm>
            <a:custGeom>
              <a:avLst/>
              <a:gdLst>
                <a:gd name="T0" fmla="*/ 4 w 56"/>
                <a:gd name="T1" fmla="*/ 27 h 97"/>
                <a:gd name="T2" fmla="*/ 53 w 56"/>
                <a:gd name="T3" fmla="*/ 12 h 97"/>
                <a:gd name="T4" fmla="*/ 21 w 56"/>
                <a:gd name="T5" fmla="*/ 96 h 97"/>
                <a:gd name="T6" fmla="*/ 4 w 56"/>
                <a:gd name="T7" fmla="*/ 2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97">
                  <a:moveTo>
                    <a:pt x="4" y="27"/>
                  </a:moveTo>
                  <a:cubicBezTo>
                    <a:pt x="8" y="12"/>
                    <a:pt x="49" y="0"/>
                    <a:pt x="53" y="12"/>
                  </a:cubicBezTo>
                  <a:cubicBezTo>
                    <a:pt x="55" y="25"/>
                    <a:pt x="21" y="96"/>
                    <a:pt x="21" y="96"/>
                  </a:cubicBezTo>
                  <a:cubicBezTo>
                    <a:pt x="7" y="90"/>
                    <a:pt x="0" y="41"/>
                    <a:pt x="4" y="27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3" name="ísliḓê">
              <a:extLst>
                <a:ext uri="{FF2B5EF4-FFF2-40B4-BE49-F238E27FC236}">
                  <a16:creationId xmlns="" xmlns:a16="http://schemas.microsoft.com/office/drawing/2014/main" id="{2D3E380C-D2B7-48D2-91CB-657C9C72F61F}"/>
                </a:ext>
              </a:extLst>
            </p:cNvPr>
            <p:cNvSpPr/>
            <p:nvPr/>
          </p:nvSpPr>
          <p:spPr bwMode="auto">
            <a:xfrm>
              <a:off x="1508125" y="4760913"/>
              <a:ext cx="23813" cy="34925"/>
            </a:xfrm>
            <a:custGeom>
              <a:avLst/>
              <a:gdLst>
                <a:gd name="T0" fmla="*/ 22 w 66"/>
                <a:gd name="T1" fmla="*/ 86 h 97"/>
                <a:gd name="T2" fmla="*/ 53 w 66"/>
                <a:gd name="T3" fmla="*/ 9 h 97"/>
                <a:gd name="T4" fmla="*/ 47 w 66"/>
                <a:gd name="T5" fmla="*/ 7 h 97"/>
                <a:gd name="T6" fmla="*/ 12 w 66"/>
                <a:gd name="T7" fmla="*/ 24 h 97"/>
                <a:gd name="T8" fmla="*/ 22 w 66"/>
                <a:gd name="T9" fmla="*/ 86 h 97"/>
                <a:gd name="T10" fmla="*/ 47 w 66"/>
                <a:gd name="T11" fmla="*/ 0 h 97"/>
                <a:gd name="T12" fmla="*/ 62 w 66"/>
                <a:gd name="T13" fmla="*/ 7 h 97"/>
                <a:gd name="T14" fmla="*/ 28 w 66"/>
                <a:gd name="T15" fmla="*/ 94 h 97"/>
                <a:gd name="T16" fmla="*/ 25 w 66"/>
                <a:gd name="T17" fmla="*/ 96 h 97"/>
                <a:gd name="T18" fmla="*/ 22 w 66"/>
                <a:gd name="T19" fmla="*/ 96 h 97"/>
                <a:gd name="T20" fmla="*/ 5 w 66"/>
                <a:gd name="T21" fmla="*/ 22 h 97"/>
                <a:gd name="T22" fmla="*/ 47 w 66"/>
                <a:gd name="T2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97">
                  <a:moveTo>
                    <a:pt x="22" y="86"/>
                  </a:moveTo>
                  <a:cubicBezTo>
                    <a:pt x="40" y="52"/>
                    <a:pt x="56" y="16"/>
                    <a:pt x="53" y="9"/>
                  </a:cubicBezTo>
                  <a:cubicBezTo>
                    <a:pt x="53" y="8"/>
                    <a:pt x="51" y="7"/>
                    <a:pt x="47" y="7"/>
                  </a:cubicBezTo>
                  <a:cubicBezTo>
                    <a:pt x="34" y="7"/>
                    <a:pt x="14" y="16"/>
                    <a:pt x="12" y="24"/>
                  </a:cubicBezTo>
                  <a:cubicBezTo>
                    <a:pt x="8" y="37"/>
                    <a:pt x="14" y="75"/>
                    <a:pt x="22" y="86"/>
                  </a:cubicBezTo>
                  <a:close/>
                  <a:moveTo>
                    <a:pt x="47" y="0"/>
                  </a:moveTo>
                  <a:cubicBezTo>
                    <a:pt x="58" y="0"/>
                    <a:pt x="61" y="5"/>
                    <a:pt x="62" y="7"/>
                  </a:cubicBezTo>
                  <a:cubicBezTo>
                    <a:pt x="65" y="21"/>
                    <a:pt x="34" y="81"/>
                    <a:pt x="28" y="94"/>
                  </a:cubicBezTo>
                  <a:cubicBezTo>
                    <a:pt x="27" y="95"/>
                    <a:pt x="26" y="96"/>
                    <a:pt x="25" y="96"/>
                  </a:cubicBezTo>
                  <a:cubicBezTo>
                    <a:pt x="24" y="96"/>
                    <a:pt x="24" y="96"/>
                    <a:pt x="22" y="96"/>
                  </a:cubicBezTo>
                  <a:cubicBezTo>
                    <a:pt x="6" y="88"/>
                    <a:pt x="0" y="36"/>
                    <a:pt x="5" y="22"/>
                  </a:cubicBezTo>
                  <a:cubicBezTo>
                    <a:pt x="8" y="9"/>
                    <a:pt x="33" y="0"/>
                    <a:pt x="47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4" name="ïslîḍê">
              <a:extLst>
                <a:ext uri="{FF2B5EF4-FFF2-40B4-BE49-F238E27FC236}">
                  <a16:creationId xmlns="" xmlns:a16="http://schemas.microsoft.com/office/drawing/2014/main" id="{E83290EE-50B3-4072-AEBC-F9359FC49CF6}"/>
                </a:ext>
              </a:extLst>
            </p:cNvPr>
            <p:cNvSpPr/>
            <p:nvPr/>
          </p:nvSpPr>
          <p:spPr bwMode="auto">
            <a:xfrm>
              <a:off x="1349375" y="4764088"/>
              <a:ext cx="177800" cy="141287"/>
            </a:xfrm>
            <a:custGeom>
              <a:avLst/>
              <a:gdLst>
                <a:gd name="T0" fmla="*/ 446 w 492"/>
                <a:gd name="T1" fmla="*/ 14 h 394"/>
                <a:gd name="T2" fmla="*/ 458 w 492"/>
                <a:gd name="T3" fmla="*/ 0 h 394"/>
                <a:gd name="T4" fmla="*/ 462 w 492"/>
                <a:gd name="T5" fmla="*/ 325 h 394"/>
                <a:gd name="T6" fmla="*/ 325 w 492"/>
                <a:gd name="T7" fmla="*/ 365 h 394"/>
                <a:gd name="T8" fmla="*/ 247 w 492"/>
                <a:gd name="T9" fmla="*/ 373 h 394"/>
                <a:gd name="T10" fmla="*/ 97 w 492"/>
                <a:gd name="T11" fmla="*/ 382 h 394"/>
                <a:gd name="T12" fmla="*/ 5 w 492"/>
                <a:gd name="T13" fmla="*/ 131 h 394"/>
                <a:gd name="T14" fmla="*/ 19 w 492"/>
                <a:gd name="T15" fmla="*/ 44 h 394"/>
                <a:gd name="T16" fmla="*/ 25 w 492"/>
                <a:gd name="T17" fmla="*/ 72 h 394"/>
                <a:gd name="T18" fmla="*/ 14 w 492"/>
                <a:gd name="T19" fmla="*/ 116 h 394"/>
                <a:gd name="T20" fmla="*/ 109 w 492"/>
                <a:gd name="T21" fmla="*/ 347 h 394"/>
                <a:gd name="T22" fmla="*/ 406 w 492"/>
                <a:gd name="T23" fmla="*/ 292 h 394"/>
                <a:gd name="T24" fmla="*/ 453 w 492"/>
                <a:gd name="T25" fmla="*/ 307 h 394"/>
                <a:gd name="T26" fmla="*/ 446 w 492"/>
                <a:gd name="T27" fmla="*/ 1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2" h="394">
                  <a:moveTo>
                    <a:pt x="446" y="14"/>
                  </a:moveTo>
                  <a:lnTo>
                    <a:pt x="458" y="0"/>
                  </a:lnTo>
                  <a:cubicBezTo>
                    <a:pt x="491" y="42"/>
                    <a:pt x="479" y="301"/>
                    <a:pt x="462" y="325"/>
                  </a:cubicBezTo>
                  <a:cubicBezTo>
                    <a:pt x="443" y="348"/>
                    <a:pt x="325" y="365"/>
                    <a:pt x="325" y="365"/>
                  </a:cubicBezTo>
                  <a:cubicBezTo>
                    <a:pt x="318" y="368"/>
                    <a:pt x="257" y="368"/>
                    <a:pt x="247" y="373"/>
                  </a:cubicBezTo>
                  <a:cubicBezTo>
                    <a:pt x="236" y="379"/>
                    <a:pt x="116" y="393"/>
                    <a:pt x="97" y="382"/>
                  </a:cubicBezTo>
                  <a:cubicBezTo>
                    <a:pt x="78" y="369"/>
                    <a:pt x="11" y="151"/>
                    <a:pt x="5" y="131"/>
                  </a:cubicBezTo>
                  <a:cubicBezTo>
                    <a:pt x="0" y="112"/>
                    <a:pt x="19" y="44"/>
                    <a:pt x="19" y="44"/>
                  </a:cubicBezTo>
                  <a:lnTo>
                    <a:pt x="25" y="72"/>
                  </a:lnTo>
                  <a:cubicBezTo>
                    <a:pt x="25" y="72"/>
                    <a:pt x="21" y="85"/>
                    <a:pt x="14" y="116"/>
                  </a:cubicBezTo>
                  <a:cubicBezTo>
                    <a:pt x="7" y="147"/>
                    <a:pt x="109" y="347"/>
                    <a:pt x="109" y="347"/>
                  </a:cubicBezTo>
                  <a:cubicBezTo>
                    <a:pt x="138" y="304"/>
                    <a:pt x="389" y="291"/>
                    <a:pt x="406" y="292"/>
                  </a:cubicBezTo>
                  <a:cubicBezTo>
                    <a:pt x="424" y="292"/>
                    <a:pt x="453" y="307"/>
                    <a:pt x="453" y="307"/>
                  </a:cubicBezTo>
                  <a:cubicBezTo>
                    <a:pt x="491" y="174"/>
                    <a:pt x="446" y="14"/>
                    <a:pt x="446" y="14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5" name="iṡļíḓè">
              <a:extLst>
                <a:ext uri="{FF2B5EF4-FFF2-40B4-BE49-F238E27FC236}">
                  <a16:creationId xmlns="" xmlns:a16="http://schemas.microsoft.com/office/drawing/2014/main" id="{016DCB85-8B3A-40EA-A0FD-F6BD687693D2}"/>
                </a:ext>
              </a:extLst>
            </p:cNvPr>
            <p:cNvSpPr/>
            <p:nvPr/>
          </p:nvSpPr>
          <p:spPr bwMode="auto">
            <a:xfrm>
              <a:off x="1349375" y="4762500"/>
              <a:ext cx="180975" cy="142875"/>
            </a:xfrm>
            <a:custGeom>
              <a:avLst/>
              <a:gdLst>
                <a:gd name="T0" fmla="*/ 465 w 502"/>
                <a:gd name="T1" fmla="*/ 331 h 399"/>
                <a:gd name="T2" fmla="*/ 465 w 502"/>
                <a:gd name="T3" fmla="*/ 11 h 399"/>
                <a:gd name="T4" fmla="*/ 457 w 502"/>
                <a:gd name="T5" fmla="*/ 20 h 399"/>
                <a:gd name="T6" fmla="*/ 464 w 502"/>
                <a:gd name="T7" fmla="*/ 315 h 399"/>
                <a:gd name="T8" fmla="*/ 461 w 502"/>
                <a:gd name="T9" fmla="*/ 318 h 399"/>
                <a:gd name="T10" fmla="*/ 458 w 502"/>
                <a:gd name="T11" fmla="*/ 318 h 399"/>
                <a:gd name="T12" fmla="*/ 412 w 502"/>
                <a:gd name="T13" fmla="*/ 303 h 399"/>
                <a:gd name="T14" fmla="*/ 411 w 502"/>
                <a:gd name="T15" fmla="*/ 303 h 399"/>
                <a:gd name="T16" fmla="*/ 117 w 502"/>
                <a:gd name="T17" fmla="*/ 358 h 399"/>
                <a:gd name="T18" fmla="*/ 114 w 502"/>
                <a:gd name="T19" fmla="*/ 359 h 399"/>
                <a:gd name="T20" fmla="*/ 111 w 502"/>
                <a:gd name="T21" fmla="*/ 358 h 399"/>
                <a:gd name="T22" fmla="*/ 16 w 502"/>
                <a:gd name="T23" fmla="*/ 122 h 399"/>
                <a:gd name="T24" fmla="*/ 26 w 502"/>
                <a:gd name="T25" fmla="*/ 77 h 399"/>
                <a:gd name="T26" fmla="*/ 24 w 502"/>
                <a:gd name="T27" fmla="*/ 67 h 399"/>
                <a:gd name="T28" fmla="*/ 14 w 502"/>
                <a:gd name="T29" fmla="*/ 137 h 399"/>
                <a:gd name="T30" fmla="*/ 104 w 502"/>
                <a:gd name="T31" fmla="*/ 387 h 399"/>
                <a:gd name="T32" fmla="*/ 136 w 502"/>
                <a:gd name="T33" fmla="*/ 390 h 399"/>
                <a:gd name="T34" fmla="*/ 250 w 502"/>
                <a:gd name="T35" fmla="*/ 377 h 399"/>
                <a:gd name="T36" fmla="*/ 297 w 502"/>
                <a:gd name="T37" fmla="*/ 372 h 399"/>
                <a:gd name="T38" fmla="*/ 330 w 502"/>
                <a:gd name="T39" fmla="*/ 369 h 399"/>
                <a:gd name="T40" fmla="*/ 331 w 502"/>
                <a:gd name="T41" fmla="*/ 368 h 399"/>
                <a:gd name="T42" fmla="*/ 465 w 502"/>
                <a:gd name="T43" fmla="*/ 331 h 399"/>
                <a:gd name="T44" fmla="*/ 465 w 502"/>
                <a:gd name="T45" fmla="*/ 0 h 399"/>
                <a:gd name="T46" fmla="*/ 469 w 502"/>
                <a:gd name="T47" fmla="*/ 2 h 399"/>
                <a:gd name="T48" fmla="*/ 471 w 502"/>
                <a:gd name="T49" fmla="*/ 335 h 399"/>
                <a:gd name="T50" fmla="*/ 333 w 502"/>
                <a:gd name="T51" fmla="*/ 376 h 399"/>
                <a:gd name="T52" fmla="*/ 297 w 502"/>
                <a:gd name="T53" fmla="*/ 380 h 399"/>
                <a:gd name="T54" fmla="*/ 255 w 502"/>
                <a:gd name="T55" fmla="*/ 384 h 399"/>
                <a:gd name="T56" fmla="*/ 136 w 502"/>
                <a:gd name="T57" fmla="*/ 398 h 399"/>
                <a:gd name="T58" fmla="*/ 100 w 502"/>
                <a:gd name="T59" fmla="*/ 394 h 399"/>
                <a:gd name="T60" fmla="*/ 6 w 502"/>
                <a:gd name="T61" fmla="*/ 138 h 399"/>
                <a:gd name="T62" fmla="*/ 20 w 502"/>
                <a:gd name="T63" fmla="*/ 48 h 399"/>
                <a:gd name="T64" fmla="*/ 25 w 502"/>
                <a:gd name="T65" fmla="*/ 46 h 399"/>
                <a:gd name="T66" fmla="*/ 28 w 502"/>
                <a:gd name="T67" fmla="*/ 48 h 399"/>
                <a:gd name="T68" fmla="*/ 33 w 502"/>
                <a:gd name="T69" fmla="*/ 77 h 399"/>
                <a:gd name="T70" fmla="*/ 33 w 502"/>
                <a:gd name="T71" fmla="*/ 78 h 399"/>
                <a:gd name="T72" fmla="*/ 23 w 502"/>
                <a:gd name="T73" fmla="*/ 123 h 399"/>
                <a:gd name="T74" fmla="*/ 115 w 502"/>
                <a:gd name="T75" fmla="*/ 348 h 399"/>
                <a:gd name="T76" fmla="*/ 411 w 502"/>
                <a:gd name="T77" fmla="*/ 294 h 399"/>
                <a:gd name="T78" fmla="*/ 412 w 502"/>
                <a:gd name="T79" fmla="*/ 294 h 399"/>
                <a:gd name="T80" fmla="*/ 457 w 502"/>
                <a:gd name="T81" fmla="*/ 308 h 399"/>
                <a:gd name="T82" fmla="*/ 449 w 502"/>
                <a:gd name="T83" fmla="*/ 20 h 399"/>
                <a:gd name="T84" fmla="*/ 449 w 502"/>
                <a:gd name="T85" fmla="*/ 16 h 399"/>
                <a:gd name="T86" fmla="*/ 463 w 502"/>
                <a:gd name="T87" fmla="*/ 1 h 399"/>
                <a:gd name="T88" fmla="*/ 465 w 502"/>
                <a:gd name="T8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2" h="399">
                  <a:moveTo>
                    <a:pt x="465" y="331"/>
                  </a:moveTo>
                  <a:cubicBezTo>
                    <a:pt x="481" y="307"/>
                    <a:pt x="493" y="63"/>
                    <a:pt x="465" y="11"/>
                  </a:cubicBezTo>
                  <a:lnTo>
                    <a:pt x="457" y="20"/>
                  </a:lnTo>
                  <a:cubicBezTo>
                    <a:pt x="461" y="40"/>
                    <a:pt x="499" y="189"/>
                    <a:pt x="464" y="315"/>
                  </a:cubicBezTo>
                  <a:cubicBezTo>
                    <a:pt x="463" y="317"/>
                    <a:pt x="463" y="318"/>
                    <a:pt x="461" y="318"/>
                  </a:cubicBezTo>
                  <a:cubicBezTo>
                    <a:pt x="460" y="319"/>
                    <a:pt x="459" y="319"/>
                    <a:pt x="458" y="318"/>
                  </a:cubicBezTo>
                  <a:cubicBezTo>
                    <a:pt x="458" y="318"/>
                    <a:pt x="429" y="304"/>
                    <a:pt x="412" y="303"/>
                  </a:cubicBezTo>
                  <a:lnTo>
                    <a:pt x="411" y="303"/>
                  </a:lnTo>
                  <a:cubicBezTo>
                    <a:pt x="374" y="303"/>
                    <a:pt x="143" y="319"/>
                    <a:pt x="117" y="358"/>
                  </a:cubicBezTo>
                  <a:cubicBezTo>
                    <a:pt x="117" y="359"/>
                    <a:pt x="116" y="359"/>
                    <a:pt x="114" y="359"/>
                  </a:cubicBezTo>
                  <a:cubicBezTo>
                    <a:pt x="112" y="359"/>
                    <a:pt x="111" y="359"/>
                    <a:pt x="111" y="358"/>
                  </a:cubicBezTo>
                  <a:cubicBezTo>
                    <a:pt x="101" y="336"/>
                    <a:pt x="9" y="153"/>
                    <a:pt x="16" y="122"/>
                  </a:cubicBezTo>
                  <a:cubicBezTo>
                    <a:pt x="21" y="94"/>
                    <a:pt x="25" y="81"/>
                    <a:pt x="26" y="77"/>
                  </a:cubicBezTo>
                  <a:lnTo>
                    <a:pt x="24" y="67"/>
                  </a:lnTo>
                  <a:cubicBezTo>
                    <a:pt x="18" y="90"/>
                    <a:pt x="11" y="124"/>
                    <a:pt x="14" y="137"/>
                  </a:cubicBezTo>
                  <a:cubicBezTo>
                    <a:pt x="31" y="193"/>
                    <a:pt x="89" y="377"/>
                    <a:pt x="104" y="387"/>
                  </a:cubicBezTo>
                  <a:cubicBezTo>
                    <a:pt x="107" y="388"/>
                    <a:pt x="114" y="390"/>
                    <a:pt x="136" y="390"/>
                  </a:cubicBezTo>
                  <a:cubicBezTo>
                    <a:pt x="179" y="390"/>
                    <a:pt x="244" y="381"/>
                    <a:pt x="250" y="377"/>
                  </a:cubicBezTo>
                  <a:cubicBezTo>
                    <a:pt x="257" y="374"/>
                    <a:pt x="272" y="373"/>
                    <a:pt x="297" y="372"/>
                  </a:cubicBezTo>
                  <a:cubicBezTo>
                    <a:pt x="309" y="372"/>
                    <a:pt x="326" y="370"/>
                    <a:pt x="330" y="369"/>
                  </a:cubicBezTo>
                  <a:cubicBezTo>
                    <a:pt x="330" y="368"/>
                    <a:pt x="331" y="368"/>
                    <a:pt x="331" y="368"/>
                  </a:cubicBezTo>
                  <a:cubicBezTo>
                    <a:pt x="363" y="365"/>
                    <a:pt x="451" y="349"/>
                    <a:pt x="465" y="331"/>
                  </a:cubicBezTo>
                  <a:close/>
                  <a:moveTo>
                    <a:pt x="465" y="0"/>
                  </a:moveTo>
                  <a:cubicBezTo>
                    <a:pt x="466" y="0"/>
                    <a:pt x="467" y="1"/>
                    <a:pt x="469" y="2"/>
                  </a:cubicBezTo>
                  <a:cubicBezTo>
                    <a:pt x="501" y="46"/>
                    <a:pt x="492" y="308"/>
                    <a:pt x="471" y="335"/>
                  </a:cubicBezTo>
                  <a:cubicBezTo>
                    <a:pt x="453" y="359"/>
                    <a:pt x="347" y="374"/>
                    <a:pt x="333" y="376"/>
                  </a:cubicBezTo>
                  <a:cubicBezTo>
                    <a:pt x="327" y="379"/>
                    <a:pt x="316" y="379"/>
                    <a:pt x="297" y="380"/>
                  </a:cubicBezTo>
                  <a:cubicBezTo>
                    <a:pt x="281" y="381"/>
                    <a:pt x="260" y="382"/>
                    <a:pt x="255" y="384"/>
                  </a:cubicBezTo>
                  <a:cubicBezTo>
                    <a:pt x="246" y="390"/>
                    <a:pt x="177" y="398"/>
                    <a:pt x="136" y="398"/>
                  </a:cubicBezTo>
                  <a:cubicBezTo>
                    <a:pt x="117" y="398"/>
                    <a:pt x="105" y="396"/>
                    <a:pt x="100" y="394"/>
                  </a:cubicBezTo>
                  <a:cubicBezTo>
                    <a:pt x="79" y="380"/>
                    <a:pt x="7" y="140"/>
                    <a:pt x="6" y="138"/>
                  </a:cubicBezTo>
                  <a:cubicBezTo>
                    <a:pt x="0" y="118"/>
                    <a:pt x="19" y="52"/>
                    <a:pt x="20" y="48"/>
                  </a:cubicBezTo>
                  <a:cubicBezTo>
                    <a:pt x="21" y="47"/>
                    <a:pt x="23" y="46"/>
                    <a:pt x="25" y="46"/>
                  </a:cubicBezTo>
                  <a:cubicBezTo>
                    <a:pt x="26" y="46"/>
                    <a:pt x="27" y="47"/>
                    <a:pt x="28" y="48"/>
                  </a:cubicBezTo>
                  <a:lnTo>
                    <a:pt x="33" y="77"/>
                  </a:lnTo>
                  <a:lnTo>
                    <a:pt x="33" y="78"/>
                  </a:lnTo>
                  <a:cubicBezTo>
                    <a:pt x="33" y="78"/>
                    <a:pt x="30" y="91"/>
                    <a:pt x="23" y="123"/>
                  </a:cubicBezTo>
                  <a:cubicBezTo>
                    <a:pt x="18" y="147"/>
                    <a:pt x="86" y="289"/>
                    <a:pt x="115" y="348"/>
                  </a:cubicBezTo>
                  <a:cubicBezTo>
                    <a:pt x="158" y="307"/>
                    <a:pt x="387" y="294"/>
                    <a:pt x="411" y="294"/>
                  </a:cubicBezTo>
                  <a:lnTo>
                    <a:pt x="412" y="294"/>
                  </a:lnTo>
                  <a:cubicBezTo>
                    <a:pt x="428" y="296"/>
                    <a:pt x="449" y="305"/>
                    <a:pt x="457" y="308"/>
                  </a:cubicBezTo>
                  <a:cubicBezTo>
                    <a:pt x="493" y="178"/>
                    <a:pt x="449" y="21"/>
                    <a:pt x="449" y="20"/>
                  </a:cubicBezTo>
                  <a:cubicBezTo>
                    <a:pt x="447" y="19"/>
                    <a:pt x="449" y="16"/>
                    <a:pt x="449" y="16"/>
                  </a:cubicBezTo>
                  <a:lnTo>
                    <a:pt x="463" y="1"/>
                  </a:lnTo>
                  <a:cubicBezTo>
                    <a:pt x="463" y="1"/>
                    <a:pt x="464" y="0"/>
                    <a:pt x="465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6" name="íṣliḑè">
              <a:extLst>
                <a:ext uri="{FF2B5EF4-FFF2-40B4-BE49-F238E27FC236}">
                  <a16:creationId xmlns="" xmlns:a16="http://schemas.microsoft.com/office/drawing/2014/main" id="{2CFE01AA-218D-4410-A1EE-2A88736C77FA}"/>
                </a:ext>
              </a:extLst>
            </p:cNvPr>
            <p:cNvSpPr/>
            <p:nvPr/>
          </p:nvSpPr>
          <p:spPr bwMode="auto">
            <a:xfrm>
              <a:off x="1387475" y="4884738"/>
              <a:ext cx="44450" cy="19050"/>
            </a:xfrm>
            <a:custGeom>
              <a:avLst/>
              <a:gdLst>
                <a:gd name="T0" fmla="*/ 70 w 123"/>
                <a:gd name="T1" fmla="*/ 2 h 51"/>
                <a:gd name="T2" fmla="*/ 122 w 123"/>
                <a:gd name="T3" fmla="*/ 34 h 51"/>
                <a:gd name="T4" fmla="*/ 1 w 123"/>
                <a:gd name="T5" fmla="*/ 41 h 51"/>
                <a:gd name="T6" fmla="*/ 70 w 123"/>
                <a:gd name="T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51">
                  <a:moveTo>
                    <a:pt x="70" y="2"/>
                  </a:moveTo>
                  <a:cubicBezTo>
                    <a:pt x="93" y="0"/>
                    <a:pt x="122" y="34"/>
                    <a:pt x="122" y="34"/>
                  </a:cubicBezTo>
                  <a:cubicBezTo>
                    <a:pt x="95" y="50"/>
                    <a:pt x="1" y="41"/>
                    <a:pt x="1" y="41"/>
                  </a:cubicBezTo>
                  <a:cubicBezTo>
                    <a:pt x="0" y="1"/>
                    <a:pt x="46" y="5"/>
                    <a:pt x="7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7" name="îṧḻiḓè">
              <a:extLst>
                <a:ext uri="{FF2B5EF4-FFF2-40B4-BE49-F238E27FC236}">
                  <a16:creationId xmlns="" xmlns:a16="http://schemas.microsoft.com/office/drawing/2014/main" id="{F43D7EDD-B714-4D3B-9319-0236940B2BAE}"/>
                </a:ext>
              </a:extLst>
            </p:cNvPr>
            <p:cNvSpPr/>
            <p:nvPr/>
          </p:nvSpPr>
          <p:spPr bwMode="auto">
            <a:xfrm>
              <a:off x="1385888" y="4883150"/>
              <a:ext cx="46037" cy="20638"/>
            </a:xfrm>
            <a:custGeom>
              <a:avLst/>
              <a:gdLst>
                <a:gd name="T0" fmla="*/ 62 w 128"/>
                <a:gd name="T1" fmla="*/ 47 h 56"/>
                <a:gd name="T2" fmla="*/ 117 w 128"/>
                <a:gd name="T3" fmla="*/ 40 h 56"/>
                <a:gd name="T4" fmla="*/ 72 w 128"/>
                <a:gd name="T5" fmla="*/ 11 h 56"/>
                <a:gd name="T6" fmla="*/ 62 w 128"/>
                <a:gd name="T7" fmla="*/ 12 h 56"/>
                <a:gd name="T8" fmla="*/ 9 w 128"/>
                <a:gd name="T9" fmla="*/ 44 h 56"/>
                <a:gd name="T10" fmla="*/ 62 w 128"/>
                <a:gd name="T11" fmla="*/ 47 h 56"/>
                <a:gd name="T12" fmla="*/ 72 w 128"/>
                <a:gd name="T13" fmla="*/ 4 h 56"/>
                <a:gd name="T14" fmla="*/ 127 w 128"/>
                <a:gd name="T15" fmla="*/ 38 h 56"/>
                <a:gd name="T16" fmla="*/ 127 w 128"/>
                <a:gd name="T17" fmla="*/ 41 h 56"/>
                <a:gd name="T18" fmla="*/ 126 w 128"/>
                <a:gd name="T19" fmla="*/ 44 h 56"/>
                <a:gd name="T20" fmla="*/ 62 w 128"/>
                <a:gd name="T21" fmla="*/ 55 h 56"/>
                <a:gd name="T22" fmla="*/ 5 w 128"/>
                <a:gd name="T23" fmla="*/ 52 h 56"/>
                <a:gd name="T24" fmla="*/ 1 w 128"/>
                <a:gd name="T25" fmla="*/ 48 h 56"/>
                <a:gd name="T26" fmla="*/ 62 w 128"/>
                <a:gd name="T27" fmla="*/ 4 h 56"/>
                <a:gd name="T28" fmla="*/ 72 w 128"/>
                <a:gd name="T29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56">
                  <a:moveTo>
                    <a:pt x="62" y="47"/>
                  </a:moveTo>
                  <a:cubicBezTo>
                    <a:pt x="87" y="47"/>
                    <a:pt x="106" y="44"/>
                    <a:pt x="117" y="40"/>
                  </a:cubicBezTo>
                  <a:cubicBezTo>
                    <a:pt x="109" y="31"/>
                    <a:pt x="89" y="10"/>
                    <a:pt x="72" y="11"/>
                  </a:cubicBezTo>
                  <a:cubicBezTo>
                    <a:pt x="70" y="12"/>
                    <a:pt x="65" y="12"/>
                    <a:pt x="62" y="12"/>
                  </a:cubicBezTo>
                  <a:cubicBezTo>
                    <a:pt x="34" y="13"/>
                    <a:pt x="9" y="17"/>
                    <a:pt x="9" y="44"/>
                  </a:cubicBezTo>
                  <a:cubicBezTo>
                    <a:pt x="17" y="44"/>
                    <a:pt x="39" y="47"/>
                    <a:pt x="62" y="47"/>
                  </a:cubicBezTo>
                  <a:close/>
                  <a:moveTo>
                    <a:pt x="72" y="4"/>
                  </a:moveTo>
                  <a:cubicBezTo>
                    <a:pt x="96" y="0"/>
                    <a:pt x="126" y="37"/>
                    <a:pt x="127" y="38"/>
                  </a:cubicBezTo>
                  <a:cubicBezTo>
                    <a:pt x="127" y="40"/>
                    <a:pt x="127" y="41"/>
                    <a:pt x="127" y="41"/>
                  </a:cubicBezTo>
                  <a:cubicBezTo>
                    <a:pt x="127" y="42"/>
                    <a:pt x="127" y="43"/>
                    <a:pt x="126" y="44"/>
                  </a:cubicBezTo>
                  <a:cubicBezTo>
                    <a:pt x="114" y="52"/>
                    <a:pt x="93" y="55"/>
                    <a:pt x="62" y="55"/>
                  </a:cubicBezTo>
                  <a:cubicBezTo>
                    <a:pt x="32" y="55"/>
                    <a:pt x="5" y="52"/>
                    <a:pt x="5" y="52"/>
                  </a:cubicBezTo>
                  <a:cubicBezTo>
                    <a:pt x="2" y="52"/>
                    <a:pt x="1" y="49"/>
                    <a:pt x="1" y="48"/>
                  </a:cubicBezTo>
                  <a:cubicBezTo>
                    <a:pt x="0" y="7"/>
                    <a:pt x="36" y="6"/>
                    <a:pt x="62" y="4"/>
                  </a:cubicBezTo>
                  <a:cubicBezTo>
                    <a:pt x="65" y="4"/>
                    <a:pt x="69" y="4"/>
                    <a:pt x="72" y="4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8" name="ïṥļíḍê">
              <a:extLst>
                <a:ext uri="{FF2B5EF4-FFF2-40B4-BE49-F238E27FC236}">
                  <a16:creationId xmlns="" xmlns:a16="http://schemas.microsoft.com/office/drawing/2014/main" id="{6BE08C10-A6D4-46B5-9769-31F20B5C2640}"/>
                </a:ext>
              </a:extLst>
            </p:cNvPr>
            <p:cNvSpPr/>
            <p:nvPr/>
          </p:nvSpPr>
          <p:spPr bwMode="auto">
            <a:xfrm>
              <a:off x="1457325" y="4872038"/>
              <a:ext cx="55563" cy="22225"/>
            </a:xfrm>
            <a:custGeom>
              <a:avLst/>
              <a:gdLst>
                <a:gd name="T0" fmla="*/ 90 w 153"/>
                <a:gd name="T1" fmla="*/ 9 h 62"/>
                <a:gd name="T2" fmla="*/ 136 w 153"/>
                <a:gd name="T3" fmla="*/ 33 h 62"/>
                <a:gd name="T4" fmla="*/ 17 w 153"/>
                <a:gd name="T5" fmla="*/ 61 h 62"/>
                <a:gd name="T6" fmla="*/ 90 w 153"/>
                <a:gd name="T7" fmla="*/ 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62">
                  <a:moveTo>
                    <a:pt x="90" y="9"/>
                  </a:moveTo>
                  <a:cubicBezTo>
                    <a:pt x="152" y="0"/>
                    <a:pt x="136" y="33"/>
                    <a:pt x="136" y="33"/>
                  </a:cubicBezTo>
                  <a:cubicBezTo>
                    <a:pt x="99" y="55"/>
                    <a:pt x="17" y="61"/>
                    <a:pt x="17" y="61"/>
                  </a:cubicBezTo>
                  <a:cubicBezTo>
                    <a:pt x="0" y="49"/>
                    <a:pt x="28" y="18"/>
                    <a:pt x="90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89" name="íṧḻïďè">
              <a:extLst>
                <a:ext uri="{FF2B5EF4-FFF2-40B4-BE49-F238E27FC236}">
                  <a16:creationId xmlns="" xmlns:a16="http://schemas.microsoft.com/office/drawing/2014/main" id="{9969AD94-A6A7-4A59-88F5-67D54DD4A573}"/>
                </a:ext>
              </a:extLst>
            </p:cNvPr>
            <p:cNvSpPr/>
            <p:nvPr/>
          </p:nvSpPr>
          <p:spPr bwMode="auto">
            <a:xfrm>
              <a:off x="1462088" y="4872038"/>
              <a:ext cx="49212" cy="22225"/>
            </a:xfrm>
            <a:custGeom>
              <a:avLst/>
              <a:gdLst>
                <a:gd name="T0" fmla="*/ 124 w 138"/>
                <a:gd name="T1" fmla="*/ 29 h 62"/>
                <a:gd name="T2" fmla="*/ 124 w 138"/>
                <a:gd name="T3" fmla="*/ 17 h 62"/>
                <a:gd name="T4" fmla="*/ 100 w 138"/>
                <a:gd name="T5" fmla="*/ 11 h 62"/>
                <a:gd name="T6" fmla="*/ 82 w 138"/>
                <a:gd name="T7" fmla="*/ 12 h 62"/>
                <a:gd name="T8" fmla="*/ 8 w 138"/>
                <a:gd name="T9" fmla="*/ 47 h 62"/>
                <a:gd name="T10" fmla="*/ 10 w 138"/>
                <a:gd name="T11" fmla="*/ 53 h 62"/>
                <a:gd name="T12" fmla="*/ 124 w 138"/>
                <a:gd name="T13" fmla="*/ 29 h 62"/>
                <a:gd name="T14" fmla="*/ 82 w 138"/>
                <a:gd name="T15" fmla="*/ 4 h 62"/>
                <a:gd name="T16" fmla="*/ 131 w 138"/>
                <a:gd name="T17" fmla="*/ 14 h 62"/>
                <a:gd name="T18" fmla="*/ 131 w 138"/>
                <a:gd name="T19" fmla="*/ 33 h 62"/>
                <a:gd name="T20" fmla="*/ 130 w 138"/>
                <a:gd name="T21" fmla="*/ 34 h 62"/>
                <a:gd name="T22" fmla="*/ 9 w 138"/>
                <a:gd name="T23" fmla="*/ 61 h 62"/>
                <a:gd name="T24" fmla="*/ 7 w 138"/>
                <a:gd name="T25" fmla="*/ 59 h 62"/>
                <a:gd name="T26" fmla="*/ 1 w 138"/>
                <a:gd name="T27" fmla="*/ 46 h 62"/>
                <a:gd name="T28" fmla="*/ 82 w 138"/>
                <a:gd name="T29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8" h="62">
                  <a:moveTo>
                    <a:pt x="124" y="29"/>
                  </a:moveTo>
                  <a:cubicBezTo>
                    <a:pt x="126" y="26"/>
                    <a:pt x="127" y="22"/>
                    <a:pt x="124" y="17"/>
                  </a:cubicBezTo>
                  <a:cubicBezTo>
                    <a:pt x="121" y="13"/>
                    <a:pt x="113" y="11"/>
                    <a:pt x="100" y="11"/>
                  </a:cubicBezTo>
                  <a:cubicBezTo>
                    <a:pt x="96" y="11"/>
                    <a:pt x="89" y="11"/>
                    <a:pt x="82" y="12"/>
                  </a:cubicBezTo>
                  <a:cubicBezTo>
                    <a:pt x="35" y="19"/>
                    <a:pt x="11" y="37"/>
                    <a:pt x="8" y="47"/>
                  </a:cubicBezTo>
                  <a:cubicBezTo>
                    <a:pt x="8" y="49"/>
                    <a:pt x="8" y="52"/>
                    <a:pt x="10" y="53"/>
                  </a:cubicBezTo>
                  <a:cubicBezTo>
                    <a:pt x="20" y="53"/>
                    <a:pt x="91" y="47"/>
                    <a:pt x="124" y="29"/>
                  </a:cubicBezTo>
                  <a:close/>
                  <a:moveTo>
                    <a:pt x="82" y="4"/>
                  </a:moveTo>
                  <a:cubicBezTo>
                    <a:pt x="108" y="0"/>
                    <a:pt x="124" y="4"/>
                    <a:pt x="131" y="14"/>
                  </a:cubicBezTo>
                  <a:cubicBezTo>
                    <a:pt x="137" y="22"/>
                    <a:pt x="131" y="33"/>
                    <a:pt x="131" y="33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92" y="55"/>
                    <a:pt x="12" y="61"/>
                    <a:pt x="9" y="61"/>
                  </a:cubicBezTo>
                  <a:cubicBezTo>
                    <a:pt x="8" y="61"/>
                    <a:pt x="8" y="61"/>
                    <a:pt x="7" y="59"/>
                  </a:cubicBezTo>
                  <a:cubicBezTo>
                    <a:pt x="1" y="56"/>
                    <a:pt x="0" y="52"/>
                    <a:pt x="1" y="46"/>
                  </a:cubicBezTo>
                  <a:cubicBezTo>
                    <a:pt x="4" y="30"/>
                    <a:pt x="33" y="11"/>
                    <a:pt x="82" y="4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0" name="îṣ1iḑê">
              <a:extLst>
                <a:ext uri="{FF2B5EF4-FFF2-40B4-BE49-F238E27FC236}">
                  <a16:creationId xmlns="" xmlns:a16="http://schemas.microsoft.com/office/drawing/2014/main" id="{050BAA83-2B7E-40C2-B5BD-D630F704FE45}"/>
                </a:ext>
              </a:extLst>
            </p:cNvPr>
            <p:cNvSpPr/>
            <p:nvPr/>
          </p:nvSpPr>
          <p:spPr bwMode="auto">
            <a:xfrm>
              <a:off x="1349375" y="4702175"/>
              <a:ext cx="168275" cy="193675"/>
            </a:xfrm>
            <a:custGeom>
              <a:avLst/>
              <a:gdLst>
                <a:gd name="T0" fmla="*/ 219 w 466"/>
                <a:gd name="T1" fmla="*/ 2 h 538"/>
                <a:gd name="T2" fmla="*/ 416 w 466"/>
                <a:gd name="T3" fmla="*/ 51 h 538"/>
                <a:gd name="T4" fmla="*/ 463 w 466"/>
                <a:gd name="T5" fmla="*/ 310 h 538"/>
                <a:gd name="T6" fmla="*/ 446 w 466"/>
                <a:gd name="T7" fmla="*/ 425 h 538"/>
                <a:gd name="T8" fmla="*/ 286 w 466"/>
                <a:gd name="T9" fmla="*/ 531 h 538"/>
                <a:gd name="T10" fmla="*/ 128 w 466"/>
                <a:gd name="T11" fmla="*/ 503 h 538"/>
                <a:gd name="T12" fmla="*/ 29 w 466"/>
                <a:gd name="T13" fmla="*/ 313 h 538"/>
                <a:gd name="T14" fmla="*/ 25 w 466"/>
                <a:gd name="T15" fmla="*/ 102 h 538"/>
                <a:gd name="T16" fmla="*/ 219 w 466"/>
                <a:gd name="T17" fmla="*/ 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6" h="538">
                  <a:moveTo>
                    <a:pt x="219" y="2"/>
                  </a:moveTo>
                  <a:cubicBezTo>
                    <a:pt x="273" y="0"/>
                    <a:pt x="396" y="30"/>
                    <a:pt x="416" y="51"/>
                  </a:cubicBezTo>
                  <a:cubicBezTo>
                    <a:pt x="436" y="73"/>
                    <a:pt x="465" y="244"/>
                    <a:pt x="463" y="310"/>
                  </a:cubicBezTo>
                  <a:cubicBezTo>
                    <a:pt x="460" y="376"/>
                    <a:pt x="462" y="401"/>
                    <a:pt x="446" y="425"/>
                  </a:cubicBezTo>
                  <a:cubicBezTo>
                    <a:pt x="429" y="451"/>
                    <a:pt x="369" y="522"/>
                    <a:pt x="286" y="531"/>
                  </a:cubicBezTo>
                  <a:cubicBezTo>
                    <a:pt x="238" y="537"/>
                    <a:pt x="147" y="514"/>
                    <a:pt x="128" y="503"/>
                  </a:cubicBezTo>
                  <a:cubicBezTo>
                    <a:pt x="108" y="494"/>
                    <a:pt x="36" y="356"/>
                    <a:pt x="29" y="313"/>
                  </a:cubicBezTo>
                  <a:cubicBezTo>
                    <a:pt x="21" y="271"/>
                    <a:pt x="0" y="138"/>
                    <a:pt x="25" y="102"/>
                  </a:cubicBezTo>
                  <a:cubicBezTo>
                    <a:pt x="48" y="67"/>
                    <a:pt x="165" y="6"/>
                    <a:pt x="219" y="2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1" name="iṧḷídê">
              <a:extLst>
                <a:ext uri="{FF2B5EF4-FFF2-40B4-BE49-F238E27FC236}">
                  <a16:creationId xmlns="" xmlns:a16="http://schemas.microsoft.com/office/drawing/2014/main" id="{8505CBD9-DFA1-40B0-ADFC-0B097DC5F16D}"/>
                </a:ext>
              </a:extLst>
            </p:cNvPr>
            <p:cNvSpPr/>
            <p:nvPr/>
          </p:nvSpPr>
          <p:spPr bwMode="auto">
            <a:xfrm>
              <a:off x="1347788" y="4702175"/>
              <a:ext cx="173037" cy="193675"/>
            </a:xfrm>
            <a:custGeom>
              <a:avLst/>
              <a:gdLst>
                <a:gd name="T0" fmla="*/ 469 w 482"/>
                <a:gd name="T1" fmla="*/ 311 h 538"/>
                <a:gd name="T2" fmla="*/ 423 w 482"/>
                <a:gd name="T3" fmla="*/ 56 h 538"/>
                <a:gd name="T4" fmla="*/ 236 w 482"/>
                <a:gd name="T5" fmla="*/ 7 h 538"/>
                <a:gd name="T6" fmla="*/ 228 w 482"/>
                <a:gd name="T7" fmla="*/ 8 h 538"/>
                <a:gd name="T8" fmla="*/ 34 w 482"/>
                <a:gd name="T9" fmla="*/ 106 h 538"/>
                <a:gd name="T10" fmla="*/ 40 w 482"/>
                <a:gd name="T11" fmla="*/ 313 h 538"/>
                <a:gd name="T12" fmla="*/ 138 w 482"/>
                <a:gd name="T13" fmla="*/ 501 h 538"/>
                <a:gd name="T14" fmla="*/ 278 w 482"/>
                <a:gd name="T15" fmla="*/ 529 h 538"/>
                <a:gd name="T16" fmla="*/ 295 w 482"/>
                <a:gd name="T17" fmla="*/ 529 h 538"/>
                <a:gd name="T18" fmla="*/ 453 w 482"/>
                <a:gd name="T19" fmla="*/ 424 h 538"/>
                <a:gd name="T20" fmla="*/ 468 w 482"/>
                <a:gd name="T21" fmla="*/ 339 h 538"/>
                <a:gd name="T22" fmla="*/ 469 w 482"/>
                <a:gd name="T23" fmla="*/ 311 h 538"/>
                <a:gd name="T24" fmla="*/ 236 w 482"/>
                <a:gd name="T25" fmla="*/ 0 h 538"/>
                <a:gd name="T26" fmla="*/ 429 w 482"/>
                <a:gd name="T27" fmla="*/ 50 h 538"/>
                <a:gd name="T28" fmla="*/ 477 w 482"/>
                <a:gd name="T29" fmla="*/ 311 h 538"/>
                <a:gd name="T30" fmla="*/ 476 w 482"/>
                <a:gd name="T31" fmla="*/ 340 h 538"/>
                <a:gd name="T32" fmla="*/ 460 w 482"/>
                <a:gd name="T33" fmla="*/ 428 h 538"/>
                <a:gd name="T34" fmla="*/ 296 w 482"/>
                <a:gd name="T35" fmla="*/ 536 h 538"/>
                <a:gd name="T36" fmla="*/ 278 w 482"/>
                <a:gd name="T37" fmla="*/ 537 h 538"/>
                <a:gd name="T38" fmla="*/ 134 w 482"/>
                <a:gd name="T39" fmla="*/ 508 h 538"/>
                <a:gd name="T40" fmla="*/ 32 w 482"/>
                <a:gd name="T41" fmla="*/ 314 h 538"/>
                <a:gd name="T42" fmla="*/ 28 w 482"/>
                <a:gd name="T43" fmla="*/ 101 h 538"/>
                <a:gd name="T44" fmla="*/ 228 w 482"/>
                <a:gd name="T45" fmla="*/ 0 h 538"/>
                <a:gd name="T46" fmla="*/ 236 w 482"/>
                <a:gd name="T4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2" h="538">
                  <a:moveTo>
                    <a:pt x="469" y="311"/>
                  </a:moveTo>
                  <a:cubicBezTo>
                    <a:pt x="472" y="242"/>
                    <a:pt x="442" y="75"/>
                    <a:pt x="423" y="56"/>
                  </a:cubicBezTo>
                  <a:cubicBezTo>
                    <a:pt x="405" y="36"/>
                    <a:pt x="293" y="7"/>
                    <a:pt x="236" y="7"/>
                  </a:cubicBezTo>
                  <a:cubicBezTo>
                    <a:pt x="232" y="7"/>
                    <a:pt x="230" y="7"/>
                    <a:pt x="228" y="8"/>
                  </a:cubicBezTo>
                  <a:cubicBezTo>
                    <a:pt x="175" y="11"/>
                    <a:pt x="59" y="70"/>
                    <a:pt x="34" y="106"/>
                  </a:cubicBezTo>
                  <a:cubicBezTo>
                    <a:pt x="13" y="137"/>
                    <a:pt x="28" y="255"/>
                    <a:pt x="40" y="313"/>
                  </a:cubicBezTo>
                  <a:cubicBezTo>
                    <a:pt x="48" y="358"/>
                    <a:pt x="120" y="493"/>
                    <a:pt x="138" y="501"/>
                  </a:cubicBezTo>
                  <a:cubicBezTo>
                    <a:pt x="153" y="509"/>
                    <a:pt x="226" y="529"/>
                    <a:pt x="278" y="529"/>
                  </a:cubicBezTo>
                  <a:cubicBezTo>
                    <a:pt x="285" y="529"/>
                    <a:pt x="291" y="529"/>
                    <a:pt x="295" y="529"/>
                  </a:cubicBezTo>
                  <a:cubicBezTo>
                    <a:pt x="391" y="517"/>
                    <a:pt x="453" y="425"/>
                    <a:pt x="453" y="424"/>
                  </a:cubicBezTo>
                  <a:cubicBezTo>
                    <a:pt x="465" y="405"/>
                    <a:pt x="467" y="384"/>
                    <a:pt x="468" y="339"/>
                  </a:cubicBezTo>
                  <a:cubicBezTo>
                    <a:pt x="469" y="330"/>
                    <a:pt x="469" y="321"/>
                    <a:pt x="469" y="311"/>
                  </a:cubicBezTo>
                  <a:close/>
                  <a:moveTo>
                    <a:pt x="236" y="0"/>
                  </a:moveTo>
                  <a:cubicBezTo>
                    <a:pt x="292" y="0"/>
                    <a:pt x="407" y="27"/>
                    <a:pt x="429" y="50"/>
                  </a:cubicBezTo>
                  <a:cubicBezTo>
                    <a:pt x="451" y="73"/>
                    <a:pt x="481" y="246"/>
                    <a:pt x="477" y="311"/>
                  </a:cubicBezTo>
                  <a:cubicBezTo>
                    <a:pt x="477" y="321"/>
                    <a:pt x="476" y="330"/>
                    <a:pt x="476" y="340"/>
                  </a:cubicBezTo>
                  <a:cubicBezTo>
                    <a:pt x="474" y="386"/>
                    <a:pt x="474" y="407"/>
                    <a:pt x="460" y="428"/>
                  </a:cubicBezTo>
                  <a:cubicBezTo>
                    <a:pt x="437" y="461"/>
                    <a:pt x="376" y="526"/>
                    <a:pt x="296" y="536"/>
                  </a:cubicBezTo>
                  <a:cubicBezTo>
                    <a:pt x="291" y="537"/>
                    <a:pt x="285" y="537"/>
                    <a:pt x="278" y="537"/>
                  </a:cubicBezTo>
                  <a:cubicBezTo>
                    <a:pt x="228" y="537"/>
                    <a:pt x="153" y="518"/>
                    <a:pt x="134" y="508"/>
                  </a:cubicBezTo>
                  <a:cubicBezTo>
                    <a:pt x="112" y="497"/>
                    <a:pt x="40" y="355"/>
                    <a:pt x="32" y="314"/>
                  </a:cubicBezTo>
                  <a:cubicBezTo>
                    <a:pt x="31" y="307"/>
                    <a:pt x="0" y="144"/>
                    <a:pt x="28" y="101"/>
                  </a:cubicBezTo>
                  <a:cubicBezTo>
                    <a:pt x="53" y="64"/>
                    <a:pt x="173" y="2"/>
                    <a:pt x="228" y="0"/>
                  </a:cubicBezTo>
                  <a:cubicBezTo>
                    <a:pt x="230" y="0"/>
                    <a:pt x="232" y="0"/>
                    <a:pt x="236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2" name="iśļîḑê">
              <a:extLst>
                <a:ext uri="{FF2B5EF4-FFF2-40B4-BE49-F238E27FC236}">
                  <a16:creationId xmlns="" xmlns:a16="http://schemas.microsoft.com/office/drawing/2014/main" id="{8FD9CE14-5580-4BAB-B5FD-CC4B3F0CDEBA}"/>
                </a:ext>
              </a:extLst>
            </p:cNvPr>
            <p:cNvSpPr/>
            <p:nvPr/>
          </p:nvSpPr>
          <p:spPr bwMode="auto">
            <a:xfrm>
              <a:off x="1319213" y="4694238"/>
              <a:ext cx="220662" cy="201612"/>
            </a:xfrm>
            <a:custGeom>
              <a:avLst/>
              <a:gdLst>
                <a:gd name="T0" fmla="*/ 507 w 615"/>
                <a:gd name="T1" fmla="*/ 62 h 558"/>
                <a:gd name="T2" fmla="*/ 583 w 615"/>
                <a:gd name="T3" fmla="*/ 430 h 558"/>
                <a:gd name="T4" fmla="*/ 246 w 615"/>
                <a:gd name="T5" fmla="*/ 493 h 558"/>
                <a:gd name="T6" fmla="*/ 139 w 615"/>
                <a:gd name="T7" fmla="*/ 503 h 558"/>
                <a:gd name="T8" fmla="*/ 50 w 615"/>
                <a:gd name="T9" fmla="*/ 159 h 558"/>
                <a:gd name="T10" fmla="*/ 267 w 615"/>
                <a:gd name="T11" fmla="*/ 12 h 558"/>
                <a:gd name="T12" fmla="*/ 507 w 615"/>
                <a:gd name="T13" fmla="*/ 62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5" h="558">
                  <a:moveTo>
                    <a:pt x="507" y="62"/>
                  </a:moveTo>
                  <a:cubicBezTo>
                    <a:pt x="614" y="141"/>
                    <a:pt x="583" y="430"/>
                    <a:pt x="583" y="430"/>
                  </a:cubicBezTo>
                  <a:cubicBezTo>
                    <a:pt x="473" y="557"/>
                    <a:pt x="246" y="493"/>
                    <a:pt x="246" y="493"/>
                  </a:cubicBezTo>
                  <a:cubicBezTo>
                    <a:pt x="246" y="493"/>
                    <a:pt x="186" y="530"/>
                    <a:pt x="139" y="503"/>
                  </a:cubicBezTo>
                  <a:cubicBezTo>
                    <a:pt x="92" y="478"/>
                    <a:pt x="0" y="285"/>
                    <a:pt x="50" y="159"/>
                  </a:cubicBezTo>
                  <a:cubicBezTo>
                    <a:pt x="71" y="105"/>
                    <a:pt x="204" y="26"/>
                    <a:pt x="267" y="12"/>
                  </a:cubicBezTo>
                  <a:cubicBezTo>
                    <a:pt x="329" y="0"/>
                    <a:pt x="487" y="48"/>
                    <a:pt x="507" y="6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3" name="işľïḓê">
              <a:extLst>
                <a:ext uri="{FF2B5EF4-FFF2-40B4-BE49-F238E27FC236}">
                  <a16:creationId xmlns="" xmlns:a16="http://schemas.microsoft.com/office/drawing/2014/main" id="{78D8EF15-7297-41C1-A126-B3C39A00DE21}"/>
                </a:ext>
              </a:extLst>
            </p:cNvPr>
            <p:cNvSpPr/>
            <p:nvPr/>
          </p:nvSpPr>
          <p:spPr bwMode="auto">
            <a:xfrm>
              <a:off x="1325563" y="4695825"/>
              <a:ext cx="217487" cy="184150"/>
            </a:xfrm>
            <a:custGeom>
              <a:avLst/>
              <a:gdLst>
                <a:gd name="T0" fmla="*/ 565 w 604"/>
                <a:gd name="T1" fmla="*/ 423 h 512"/>
                <a:gd name="T2" fmla="*/ 490 w 604"/>
                <a:gd name="T3" fmla="*/ 59 h 512"/>
                <a:gd name="T4" fmla="*/ 276 w 604"/>
                <a:gd name="T5" fmla="*/ 8 h 512"/>
                <a:gd name="T6" fmla="*/ 252 w 604"/>
                <a:gd name="T7" fmla="*/ 10 h 512"/>
                <a:gd name="T8" fmla="*/ 37 w 604"/>
                <a:gd name="T9" fmla="*/ 154 h 512"/>
                <a:gd name="T10" fmla="*/ 45 w 604"/>
                <a:gd name="T11" fmla="*/ 361 h 512"/>
                <a:gd name="T12" fmla="*/ 124 w 604"/>
                <a:gd name="T13" fmla="*/ 495 h 512"/>
                <a:gd name="T14" fmla="*/ 161 w 604"/>
                <a:gd name="T15" fmla="*/ 503 h 512"/>
                <a:gd name="T16" fmla="*/ 228 w 604"/>
                <a:gd name="T17" fmla="*/ 484 h 512"/>
                <a:gd name="T18" fmla="*/ 231 w 604"/>
                <a:gd name="T19" fmla="*/ 483 h 512"/>
                <a:gd name="T20" fmla="*/ 358 w 604"/>
                <a:gd name="T21" fmla="*/ 499 h 512"/>
                <a:gd name="T22" fmla="*/ 565 w 604"/>
                <a:gd name="T23" fmla="*/ 423 h 512"/>
                <a:gd name="T24" fmla="*/ 495 w 604"/>
                <a:gd name="T25" fmla="*/ 53 h 512"/>
                <a:gd name="T26" fmla="*/ 572 w 604"/>
                <a:gd name="T27" fmla="*/ 425 h 512"/>
                <a:gd name="T28" fmla="*/ 572 w 604"/>
                <a:gd name="T29" fmla="*/ 427 h 512"/>
                <a:gd name="T30" fmla="*/ 358 w 604"/>
                <a:gd name="T31" fmla="*/ 506 h 512"/>
                <a:gd name="T32" fmla="*/ 230 w 604"/>
                <a:gd name="T33" fmla="*/ 491 h 512"/>
                <a:gd name="T34" fmla="*/ 161 w 604"/>
                <a:gd name="T35" fmla="*/ 511 h 512"/>
                <a:gd name="T36" fmla="*/ 121 w 604"/>
                <a:gd name="T37" fmla="*/ 500 h 512"/>
                <a:gd name="T38" fmla="*/ 38 w 604"/>
                <a:gd name="T39" fmla="*/ 364 h 512"/>
                <a:gd name="T40" fmla="*/ 30 w 604"/>
                <a:gd name="T41" fmla="*/ 150 h 512"/>
                <a:gd name="T42" fmla="*/ 250 w 604"/>
                <a:gd name="T43" fmla="*/ 2 h 512"/>
                <a:gd name="T44" fmla="*/ 276 w 604"/>
                <a:gd name="T45" fmla="*/ 0 h 512"/>
                <a:gd name="T46" fmla="*/ 495 w 604"/>
                <a:gd name="T47" fmla="*/ 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4" h="512">
                  <a:moveTo>
                    <a:pt x="565" y="423"/>
                  </a:moveTo>
                  <a:cubicBezTo>
                    <a:pt x="567" y="402"/>
                    <a:pt x="590" y="133"/>
                    <a:pt x="490" y="59"/>
                  </a:cubicBezTo>
                  <a:cubicBezTo>
                    <a:pt x="474" y="47"/>
                    <a:pt x="351" y="8"/>
                    <a:pt x="276" y="8"/>
                  </a:cubicBezTo>
                  <a:cubicBezTo>
                    <a:pt x="267" y="8"/>
                    <a:pt x="259" y="9"/>
                    <a:pt x="252" y="10"/>
                  </a:cubicBezTo>
                  <a:cubicBezTo>
                    <a:pt x="192" y="22"/>
                    <a:pt x="58" y="102"/>
                    <a:pt x="37" y="154"/>
                  </a:cubicBezTo>
                  <a:cubicBezTo>
                    <a:pt x="8" y="227"/>
                    <a:pt x="30" y="315"/>
                    <a:pt x="45" y="361"/>
                  </a:cubicBezTo>
                  <a:cubicBezTo>
                    <a:pt x="70" y="432"/>
                    <a:pt x="104" y="483"/>
                    <a:pt x="124" y="495"/>
                  </a:cubicBezTo>
                  <a:cubicBezTo>
                    <a:pt x="135" y="500"/>
                    <a:pt x="147" y="503"/>
                    <a:pt x="161" y="503"/>
                  </a:cubicBezTo>
                  <a:cubicBezTo>
                    <a:pt x="196" y="503"/>
                    <a:pt x="228" y="484"/>
                    <a:pt x="228" y="484"/>
                  </a:cubicBezTo>
                  <a:cubicBezTo>
                    <a:pt x="229" y="483"/>
                    <a:pt x="230" y="483"/>
                    <a:pt x="231" y="483"/>
                  </a:cubicBezTo>
                  <a:cubicBezTo>
                    <a:pt x="231" y="483"/>
                    <a:pt x="288" y="499"/>
                    <a:pt x="358" y="499"/>
                  </a:cubicBezTo>
                  <a:cubicBezTo>
                    <a:pt x="422" y="499"/>
                    <a:pt x="509" y="485"/>
                    <a:pt x="565" y="423"/>
                  </a:cubicBezTo>
                  <a:close/>
                  <a:moveTo>
                    <a:pt x="495" y="53"/>
                  </a:moveTo>
                  <a:cubicBezTo>
                    <a:pt x="603" y="132"/>
                    <a:pt x="574" y="412"/>
                    <a:pt x="572" y="425"/>
                  </a:cubicBezTo>
                  <a:cubicBezTo>
                    <a:pt x="572" y="425"/>
                    <a:pt x="572" y="426"/>
                    <a:pt x="572" y="427"/>
                  </a:cubicBezTo>
                  <a:cubicBezTo>
                    <a:pt x="525" y="479"/>
                    <a:pt x="452" y="506"/>
                    <a:pt x="358" y="506"/>
                  </a:cubicBezTo>
                  <a:cubicBezTo>
                    <a:pt x="294" y="506"/>
                    <a:pt x="240" y="493"/>
                    <a:pt x="230" y="491"/>
                  </a:cubicBezTo>
                  <a:cubicBezTo>
                    <a:pt x="224" y="495"/>
                    <a:pt x="194" y="511"/>
                    <a:pt x="161" y="511"/>
                  </a:cubicBezTo>
                  <a:cubicBezTo>
                    <a:pt x="146" y="511"/>
                    <a:pt x="132" y="507"/>
                    <a:pt x="121" y="500"/>
                  </a:cubicBezTo>
                  <a:cubicBezTo>
                    <a:pt x="94" y="486"/>
                    <a:pt x="60" y="428"/>
                    <a:pt x="38" y="364"/>
                  </a:cubicBezTo>
                  <a:cubicBezTo>
                    <a:pt x="22" y="316"/>
                    <a:pt x="0" y="226"/>
                    <a:pt x="30" y="150"/>
                  </a:cubicBezTo>
                  <a:cubicBezTo>
                    <a:pt x="52" y="95"/>
                    <a:pt x="187" y="15"/>
                    <a:pt x="250" y="2"/>
                  </a:cubicBezTo>
                  <a:cubicBezTo>
                    <a:pt x="258" y="1"/>
                    <a:pt x="266" y="0"/>
                    <a:pt x="276" y="0"/>
                  </a:cubicBezTo>
                  <a:cubicBezTo>
                    <a:pt x="350" y="0"/>
                    <a:pt x="475" y="39"/>
                    <a:pt x="495" y="53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4" name="iṧḻïďê">
              <a:extLst>
                <a:ext uri="{FF2B5EF4-FFF2-40B4-BE49-F238E27FC236}">
                  <a16:creationId xmlns="" xmlns:a16="http://schemas.microsoft.com/office/drawing/2014/main" id="{66ABCF24-5D79-4BFB-BA8A-2C800B4B7B47}"/>
                </a:ext>
              </a:extLst>
            </p:cNvPr>
            <p:cNvSpPr/>
            <p:nvPr/>
          </p:nvSpPr>
          <p:spPr bwMode="auto">
            <a:xfrm>
              <a:off x="1150938" y="5053013"/>
              <a:ext cx="26987" cy="88900"/>
            </a:xfrm>
            <a:custGeom>
              <a:avLst/>
              <a:gdLst>
                <a:gd name="T0" fmla="*/ 72 w 77"/>
                <a:gd name="T1" fmla="*/ 68 h 246"/>
                <a:gd name="T2" fmla="*/ 48 w 77"/>
                <a:gd name="T3" fmla="*/ 149 h 246"/>
                <a:gd name="T4" fmla="*/ 21 w 77"/>
                <a:gd name="T5" fmla="*/ 239 h 246"/>
                <a:gd name="T6" fmla="*/ 5 w 77"/>
                <a:gd name="T7" fmla="*/ 183 h 246"/>
                <a:gd name="T8" fmla="*/ 13 w 77"/>
                <a:gd name="T9" fmla="*/ 110 h 246"/>
                <a:gd name="T10" fmla="*/ 34 w 77"/>
                <a:gd name="T11" fmla="*/ 0 h 246"/>
                <a:gd name="T12" fmla="*/ 72 w 77"/>
                <a:gd name="T13" fmla="*/ 68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246">
                  <a:moveTo>
                    <a:pt x="72" y="68"/>
                  </a:moveTo>
                  <a:cubicBezTo>
                    <a:pt x="76" y="91"/>
                    <a:pt x="48" y="149"/>
                    <a:pt x="48" y="149"/>
                  </a:cubicBezTo>
                  <a:cubicBezTo>
                    <a:pt x="51" y="170"/>
                    <a:pt x="55" y="245"/>
                    <a:pt x="21" y="239"/>
                  </a:cubicBezTo>
                  <a:cubicBezTo>
                    <a:pt x="0" y="234"/>
                    <a:pt x="5" y="183"/>
                    <a:pt x="5" y="183"/>
                  </a:cubicBezTo>
                  <a:lnTo>
                    <a:pt x="13" y="110"/>
                  </a:lnTo>
                  <a:lnTo>
                    <a:pt x="34" y="0"/>
                  </a:lnTo>
                  <a:cubicBezTo>
                    <a:pt x="34" y="0"/>
                    <a:pt x="66" y="44"/>
                    <a:pt x="72" y="68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5" name="íṡḷïḍe">
              <a:extLst>
                <a:ext uri="{FF2B5EF4-FFF2-40B4-BE49-F238E27FC236}">
                  <a16:creationId xmlns="" xmlns:a16="http://schemas.microsoft.com/office/drawing/2014/main" id="{8FEDDE0D-2157-48D8-AB6D-2476D634E83F}"/>
                </a:ext>
              </a:extLst>
            </p:cNvPr>
            <p:cNvSpPr/>
            <p:nvPr/>
          </p:nvSpPr>
          <p:spPr bwMode="auto">
            <a:xfrm>
              <a:off x="1149350" y="5049838"/>
              <a:ext cx="31750" cy="88900"/>
            </a:xfrm>
            <a:custGeom>
              <a:avLst/>
              <a:gdLst>
                <a:gd name="T0" fmla="*/ 81 w 87"/>
                <a:gd name="T1" fmla="*/ 70 h 246"/>
                <a:gd name="T2" fmla="*/ 58 w 87"/>
                <a:gd name="T3" fmla="*/ 152 h 246"/>
                <a:gd name="T4" fmla="*/ 44 w 87"/>
                <a:gd name="T5" fmla="*/ 239 h 246"/>
                <a:gd name="T6" fmla="*/ 29 w 87"/>
                <a:gd name="T7" fmla="*/ 245 h 246"/>
                <a:gd name="T8" fmla="*/ 24 w 87"/>
                <a:gd name="T9" fmla="*/ 245 h 246"/>
                <a:gd name="T10" fmla="*/ 5 w 87"/>
                <a:gd name="T11" fmla="*/ 186 h 246"/>
                <a:gd name="T12" fmla="*/ 13 w 87"/>
                <a:gd name="T13" fmla="*/ 113 h 246"/>
                <a:gd name="T14" fmla="*/ 17 w 87"/>
                <a:gd name="T15" fmla="*/ 110 h 246"/>
                <a:gd name="T16" fmla="*/ 20 w 87"/>
                <a:gd name="T17" fmla="*/ 113 h 246"/>
                <a:gd name="T18" fmla="*/ 12 w 87"/>
                <a:gd name="T19" fmla="*/ 186 h 246"/>
                <a:gd name="T20" fmla="*/ 25 w 87"/>
                <a:gd name="T21" fmla="*/ 237 h 246"/>
                <a:gd name="T22" fmla="*/ 38 w 87"/>
                <a:gd name="T23" fmla="*/ 233 h 246"/>
                <a:gd name="T24" fmla="*/ 50 w 87"/>
                <a:gd name="T25" fmla="*/ 152 h 246"/>
                <a:gd name="T26" fmla="*/ 50 w 87"/>
                <a:gd name="T27" fmla="*/ 150 h 246"/>
                <a:gd name="T28" fmla="*/ 73 w 87"/>
                <a:gd name="T29" fmla="*/ 73 h 246"/>
                <a:gd name="T30" fmla="*/ 36 w 87"/>
                <a:gd name="T31" fmla="*/ 7 h 246"/>
                <a:gd name="T32" fmla="*/ 37 w 87"/>
                <a:gd name="T33" fmla="*/ 1 h 246"/>
                <a:gd name="T34" fmla="*/ 43 w 87"/>
                <a:gd name="T35" fmla="*/ 2 h 246"/>
                <a:gd name="T36" fmla="*/ 81 w 87"/>
                <a:gd name="T37" fmla="*/ 7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246">
                  <a:moveTo>
                    <a:pt x="81" y="70"/>
                  </a:moveTo>
                  <a:cubicBezTo>
                    <a:pt x="86" y="94"/>
                    <a:pt x="61" y="144"/>
                    <a:pt x="58" y="152"/>
                  </a:cubicBezTo>
                  <a:cubicBezTo>
                    <a:pt x="59" y="162"/>
                    <a:pt x="64" y="220"/>
                    <a:pt x="44" y="239"/>
                  </a:cubicBezTo>
                  <a:cubicBezTo>
                    <a:pt x="39" y="244"/>
                    <a:pt x="34" y="245"/>
                    <a:pt x="29" y="245"/>
                  </a:cubicBezTo>
                  <a:cubicBezTo>
                    <a:pt x="27" y="245"/>
                    <a:pt x="25" y="245"/>
                    <a:pt x="24" y="245"/>
                  </a:cubicBezTo>
                  <a:cubicBezTo>
                    <a:pt x="0" y="240"/>
                    <a:pt x="4" y="192"/>
                    <a:pt x="5" y="186"/>
                  </a:cubicBezTo>
                  <a:lnTo>
                    <a:pt x="13" y="113"/>
                  </a:lnTo>
                  <a:cubicBezTo>
                    <a:pt x="13" y="111"/>
                    <a:pt x="14" y="109"/>
                    <a:pt x="17" y="110"/>
                  </a:cubicBezTo>
                  <a:cubicBezTo>
                    <a:pt x="19" y="110"/>
                    <a:pt x="20" y="112"/>
                    <a:pt x="20" y="113"/>
                  </a:cubicBezTo>
                  <a:lnTo>
                    <a:pt x="12" y="186"/>
                  </a:lnTo>
                  <a:cubicBezTo>
                    <a:pt x="11" y="199"/>
                    <a:pt x="11" y="234"/>
                    <a:pt x="25" y="237"/>
                  </a:cubicBezTo>
                  <a:cubicBezTo>
                    <a:pt x="31" y="238"/>
                    <a:pt x="34" y="237"/>
                    <a:pt x="38" y="233"/>
                  </a:cubicBezTo>
                  <a:cubicBezTo>
                    <a:pt x="54" y="219"/>
                    <a:pt x="52" y="169"/>
                    <a:pt x="50" y="152"/>
                  </a:cubicBezTo>
                  <a:cubicBezTo>
                    <a:pt x="50" y="152"/>
                    <a:pt x="50" y="151"/>
                    <a:pt x="50" y="150"/>
                  </a:cubicBezTo>
                  <a:cubicBezTo>
                    <a:pt x="58" y="135"/>
                    <a:pt x="78" y="90"/>
                    <a:pt x="73" y="73"/>
                  </a:cubicBezTo>
                  <a:cubicBezTo>
                    <a:pt x="69" y="50"/>
                    <a:pt x="36" y="7"/>
                    <a:pt x="36" y="7"/>
                  </a:cubicBezTo>
                  <a:cubicBezTo>
                    <a:pt x="34" y="5"/>
                    <a:pt x="34" y="2"/>
                    <a:pt x="37" y="1"/>
                  </a:cubicBezTo>
                  <a:cubicBezTo>
                    <a:pt x="38" y="0"/>
                    <a:pt x="40" y="0"/>
                    <a:pt x="43" y="2"/>
                  </a:cubicBezTo>
                  <a:cubicBezTo>
                    <a:pt x="44" y="4"/>
                    <a:pt x="76" y="46"/>
                    <a:pt x="81" y="7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6" name="íṩliďê">
              <a:extLst>
                <a:ext uri="{FF2B5EF4-FFF2-40B4-BE49-F238E27FC236}">
                  <a16:creationId xmlns="" xmlns:a16="http://schemas.microsoft.com/office/drawing/2014/main" id="{DD72E794-82D2-49E5-86F3-F556E71DDE3D}"/>
                </a:ext>
              </a:extLst>
            </p:cNvPr>
            <p:cNvSpPr/>
            <p:nvPr/>
          </p:nvSpPr>
          <p:spPr bwMode="auto">
            <a:xfrm>
              <a:off x="1290638" y="5122863"/>
              <a:ext cx="28575" cy="46037"/>
            </a:xfrm>
            <a:custGeom>
              <a:avLst/>
              <a:gdLst>
                <a:gd name="T0" fmla="*/ 26 w 81"/>
                <a:gd name="T1" fmla="*/ 62 h 128"/>
                <a:gd name="T2" fmla="*/ 43 w 81"/>
                <a:gd name="T3" fmla="*/ 0 h 128"/>
                <a:gd name="T4" fmla="*/ 80 w 81"/>
                <a:gd name="T5" fmla="*/ 16 h 128"/>
                <a:gd name="T6" fmla="*/ 57 w 81"/>
                <a:gd name="T7" fmla="*/ 78 h 128"/>
                <a:gd name="T8" fmla="*/ 16 w 81"/>
                <a:gd name="T9" fmla="*/ 123 h 128"/>
                <a:gd name="T10" fmla="*/ 26 w 81"/>
                <a:gd name="T11" fmla="*/ 6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28">
                  <a:moveTo>
                    <a:pt x="26" y="62"/>
                  </a:moveTo>
                  <a:cubicBezTo>
                    <a:pt x="23" y="49"/>
                    <a:pt x="43" y="0"/>
                    <a:pt x="43" y="0"/>
                  </a:cubicBezTo>
                  <a:lnTo>
                    <a:pt x="80" y="16"/>
                  </a:lnTo>
                  <a:lnTo>
                    <a:pt x="57" y="78"/>
                  </a:lnTo>
                  <a:cubicBezTo>
                    <a:pt x="57" y="78"/>
                    <a:pt x="31" y="127"/>
                    <a:pt x="16" y="123"/>
                  </a:cubicBezTo>
                  <a:cubicBezTo>
                    <a:pt x="0" y="121"/>
                    <a:pt x="26" y="62"/>
                    <a:pt x="26" y="62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7" name="îṡľïḋe">
              <a:extLst>
                <a:ext uri="{FF2B5EF4-FFF2-40B4-BE49-F238E27FC236}">
                  <a16:creationId xmlns="" xmlns:a16="http://schemas.microsoft.com/office/drawing/2014/main" id="{AC39364B-8450-4E29-8D01-03B3D8AF6B8A}"/>
                </a:ext>
              </a:extLst>
            </p:cNvPr>
            <p:cNvSpPr/>
            <p:nvPr/>
          </p:nvSpPr>
          <p:spPr bwMode="auto">
            <a:xfrm>
              <a:off x="1290638" y="5121275"/>
              <a:ext cx="31750" cy="49213"/>
            </a:xfrm>
            <a:custGeom>
              <a:avLst/>
              <a:gdLst>
                <a:gd name="T0" fmla="*/ 82 w 86"/>
                <a:gd name="T1" fmla="*/ 17 h 138"/>
                <a:gd name="T2" fmla="*/ 84 w 86"/>
                <a:gd name="T3" fmla="*/ 22 h 138"/>
                <a:gd name="T4" fmla="*/ 61 w 86"/>
                <a:gd name="T5" fmla="*/ 86 h 138"/>
                <a:gd name="T6" fmla="*/ 16 w 86"/>
                <a:gd name="T7" fmla="*/ 137 h 138"/>
                <a:gd name="T8" fmla="*/ 14 w 86"/>
                <a:gd name="T9" fmla="*/ 137 h 138"/>
                <a:gd name="T10" fmla="*/ 7 w 86"/>
                <a:gd name="T11" fmla="*/ 132 h 138"/>
                <a:gd name="T12" fmla="*/ 21 w 86"/>
                <a:gd name="T13" fmla="*/ 68 h 138"/>
                <a:gd name="T14" fmla="*/ 40 w 86"/>
                <a:gd name="T15" fmla="*/ 2 h 138"/>
                <a:gd name="T16" fmla="*/ 45 w 86"/>
                <a:gd name="T17" fmla="*/ 0 h 138"/>
                <a:gd name="T18" fmla="*/ 47 w 86"/>
                <a:gd name="T19" fmla="*/ 6 h 138"/>
                <a:gd name="T20" fmla="*/ 29 w 86"/>
                <a:gd name="T21" fmla="*/ 68 h 138"/>
                <a:gd name="T22" fmla="*/ 29 w 86"/>
                <a:gd name="T23" fmla="*/ 71 h 138"/>
                <a:gd name="T24" fmla="*/ 14 w 86"/>
                <a:gd name="T25" fmla="*/ 127 h 138"/>
                <a:gd name="T26" fmla="*/ 15 w 86"/>
                <a:gd name="T27" fmla="*/ 128 h 138"/>
                <a:gd name="T28" fmla="*/ 54 w 86"/>
                <a:gd name="T29" fmla="*/ 82 h 138"/>
                <a:gd name="T30" fmla="*/ 77 w 86"/>
                <a:gd name="T31" fmla="*/ 20 h 138"/>
                <a:gd name="T32" fmla="*/ 82 w 86"/>
                <a:gd name="T33" fmla="*/ 1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82" y="17"/>
                  </a:moveTo>
                  <a:cubicBezTo>
                    <a:pt x="84" y="17"/>
                    <a:pt x="85" y="20"/>
                    <a:pt x="84" y="22"/>
                  </a:cubicBezTo>
                  <a:lnTo>
                    <a:pt x="61" y="86"/>
                  </a:lnTo>
                  <a:cubicBezTo>
                    <a:pt x="56" y="95"/>
                    <a:pt x="34" y="137"/>
                    <a:pt x="16" y="137"/>
                  </a:cubicBezTo>
                  <a:cubicBezTo>
                    <a:pt x="15" y="137"/>
                    <a:pt x="15" y="137"/>
                    <a:pt x="14" y="137"/>
                  </a:cubicBezTo>
                  <a:cubicBezTo>
                    <a:pt x="11" y="136"/>
                    <a:pt x="9" y="134"/>
                    <a:pt x="7" y="132"/>
                  </a:cubicBezTo>
                  <a:cubicBezTo>
                    <a:pt x="0" y="119"/>
                    <a:pt x="16" y="79"/>
                    <a:pt x="21" y="68"/>
                  </a:cubicBezTo>
                  <a:cubicBezTo>
                    <a:pt x="20" y="53"/>
                    <a:pt x="37" y="8"/>
                    <a:pt x="40" y="2"/>
                  </a:cubicBezTo>
                  <a:cubicBezTo>
                    <a:pt x="41" y="1"/>
                    <a:pt x="43" y="0"/>
                    <a:pt x="45" y="0"/>
                  </a:cubicBezTo>
                  <a:cubicBezTo>
                    <a:pt x="47" y="1"/>
                    <a:pt x="48" y="3"/>
                    <a:pt x="47" y="6"/>
                  </a:cubicBezTo>
                  <a:cubicBezTo>
                    <a:pt x="40" y="24"/>
                    <a:pt x="27" y="59"/>
                    <a:pt x="29" y="68"/>
                  </a:cubicBezTo>
                  <a:cubicBezTo>
                    <a:pt x="29" y="68"/>
                    <a:pt x="29" y="69"/>
                    <a:pt x="29" y="71"/>
                  </a:cubicBezTo>
                  <a:cubicBezTo>
                    <a:pt x="21" y="89"/>
                    <a:pt x="10" y="120"/>
                    <a:pt x="14" y="127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24" y="130"/>
                    <a:pt x="43" y="102"/>
                    <a:pt x="54" y="82"/>
                  </a:cubicBezTo>
                  <a:lnTo>
                    <a:pt x="77" y="20"/>
                  </a:lnTo>
                  <a:cubicBezTo>
                    <a:pt x="78" y="17"/>
                    <a:pt x="80" y="16"/>
                    <a:pt x="82" y="17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8" name="íṥlïďê">
              <a:extLst>
                <a:ext uri="{FF2B5EF4-FFF2-40B4-BE49-F238E27FC236}">
                  <a16:creationId xmlns="" xmlns:a16="http://schemas.microsoft.com/office/drawing/2014/main" id="{57168F0A-08E1-4B58-98D0-74F7597EF70A}"/>
                </a:ext>
              </a:extLst>
            </p:cNvPr>
            <p:cNvSpPr/>
            <p:nvPr/>
          </p:nvSpPr>
          <p:spPr bwMode="auto">
            <a:xfrm>
              <a:off x="1262063" y="5140325"/>
              <a:ext cx="57150" cy="50800"/>
            </a:xfrm>
            <a:custGeom>
              <a:avLst/>
              <a:gdLst>
                <a:gd name="T0" fmla="*/ 120 w 158"/>
                <a:gd name="T1" fmla="*/ 39 h 143"/>
                <a:gd name="T2" fmla="*/ 157 w 158"/>
                <a:gd name="T3" fmla="*/ 0 h 143"/>
                <a:gd name="T4" fmla="*/ 155 w 158"/>
                <a:gd name="T5" fmla="*/ 64 h 143"/>
                <a:gd name="T6" fmla="*/ 113 w 158"/>
                <a:gd name="T7" fmla="*/ 101 h 143"/>
                <a:gd name="T8" fmla="*/ 29 w 158"/>
                <a:gd name="T9" fmla="*/ 134 h 143"/>
                <a:gd name="T10" fmla="*/ 11 w 158"/>
                <a:gd name="T11" fmla="*/ 106 h 143"/>
                <a:gd name="T12" fmla="*/ 73 w 158"/>
                <a:gd name="T13" fmla="*/ 68 h 143"/>
                <a:gd name="T14" fmla="*/ 120 w 158"/>
                <a:gd name="T15" fmla="*/ 3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43">
                  <a:moveTo>
                    <a:pt x="120" y="39"/>
                  </a:moveTo>
                  <a:cubicBezTo>
                    <a:pt x="120" y="31"/>
                    <a:pt x="157" y="0"/>
                    <a:pt x="157" y="0"/>
                  </a:cubicBezTo>
                  <a:lnTo>
                    <a:pt x="155" y="64"/>
                  </a:lnTo>
                  <a:cubicBezTo>
                    <a:pt x="141" y="70"/>
                    <a:pt x="113" y="101"/>
                    <a:pt x="113" y="101"/>
                  </a:cubicBezTo>
                  <a:cubicBezTo>
                    <a:pt x="113" y="101"/>
                    <a:pt x="59" y="126"/>
                    <a:pt x="29" y="134"/>
                  </a:cubicBezTo>
                  <a:cubicBezTo>
                    <a:pt x="0" y="142"/>
                    <a:pt x="6" y="118"/>
                    <a:pt x="11" y="106"/>
                  </a:cubicBezTo>
                  <a:cubicBezTo>
                    <a:pt x="16" y="92"/>
                    <a:pt x="73" y="68"/>
                    <a:pt x="73" y="68"/>
                  </a:cubicBezTo>
                  <a:cubicBezTo>
                    <a:pt x="75" y="57"/>
                    <a:pt x="120" y="39"/>
                    <a:pt x="120" y="39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99" name="ïšḻidê">
              <a:extLst>
                <a:ext uri="{FF2B5EF4-FFF2-40B4-BE49-F238E27FC236}">
                  <a16:creationId xmlns="" xmlns:a16="http://schemas.microsoft.com/office/drawing/2014/main" id="{A9EA8DDC-F4B6-4FFD-AE16-8B54FC84D945}"/>
                </a:ext>
              </a:extLst>
            </p:cNvPr>
            <p:cNvSpPr/>
            <p:nvPr/>
          </p:nvSpPr>
          <p:spPr bwMode="auto">
            <a:xfrm>
              <a:off x="1262063" y="5138738"/>
              <a:ext cx="58737" cy="53975"/>
            </a:xfrm>
            <a:custGeom>
              <a:avLst/>
              <a:gdLst>
                <a:gd name="T0" fmla="*/ 155 w 163"/>
                <a:gd name="T1" fmla="*/ 1 h 148"/>
                <a:gd name="T2" fmla="*/ 161 w 163"/>
                <a:gd name="T3" fmla="*/ 2 h 148"/>
                <a:gd name="T4" fmla="*/ 160 w 163"/>
                <a:gd name="T5" fmla="*/ 8 h 148"/>
                <a:gd name="T6" fmla="*/ 125 w 163"/>
                <a:gd name="T7" fmla="*/ 45 h 148"/>
                <a:gd name="T8" fmla="*/ 122 w 163"/>
                <a:gd name="T9" fmla="*/ 48 h 148"/>
                <a:gd name="T10" fmla="*/ 76 w 163"/>
                <a:gd name="T11" fmla="*/ 75 h 148"/>
                <a:gd name="T12" fmla="*/ 74 w 163"/>
                <a:gd name="T13" fmla="*/ 78 h 148"/>
                <a:gd name="T14" fmla="*/ 15 w 163"/>
                <a:gd name="T15" fmla="*/ 114 h 148"/>
                <a:gd name="T16" fmla="*/ 13 w 163"/>
                <a:gd name="T17" fmla="*/ 138 h 148"/>
                <a:gd name="T18" fmla="*/ 28 w 163"/>
                <a:gd name="T19" fmla="*/ 139 h 148"/>
                <a:gd name="T20" fmla="*/ 111 w 163"/>
                <a:gd name="T21" fmla="*/ 105 h 148"/>
                <a:gd name="T22" fmla="*/ 154 w 163"/>
                <a:gd name="T23" fmla="*/ 67 h 148"/>
                <a:gd name="T24" fmla="*/ 159 w 163"/>
                <a:gd name="T25" fmla="*/ 69 h 148"/>
                <a:gd name="T26" fmla="*/ 157 w 163"/>
                <a:gd name="T27" fmla="*/ 75 h 148"/>
                <a:gd name="T28" fmla="*/ 115 w 163"/>
                <a:gd name="T29" fmla="*/ 111 h 148"/>
                <a:gd name="T30" fmla="*/ 114 w 163"/>
                <a:gd name="T31" fmla="*/ 112 h 148"/>
                <a:gd name="T32" fmla="*/ 30 w 163"/>
                <a:gd name="T33" fmla="*/ 146 h 148"/>
                <a:gd name="T34" fmla="*/ 20 w 163"/>
                <a:gd name="T35" fmla="*/ 147 h 148"/>
                <a:gd name="T36" fmla="*/ 7 w 163"/>
                <a:gd name="T37" fmla="*/ 143 h 148"/>
                <a:gd name="T38" fmla="*/ 7 w 163"/>
                <a:gd name="T39" fmla="*/ 111 h 148"/>
                <a:gd name="T40" fmla="*/ 69 w 163"/>
                <a:gd name="T41" fmla="*/ 71 h 148"/>
                <a:gd name="T42" fmla="*/ 118 w 163"/>
                <a:gd name="T43" fmla="*/ 41 h 148"/>
                <a:gd name="T44" fmla="*/ 155 w 163"/>
                <a:gd name="T45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3" h="148">
                  <a:moveTo>
                    <a:pt x="155" y="1"/>
                  </a:moveTo>
                  <a:cubicBezTo>
                    <a:pt x="157" y="0"/>
                    <a:pt x="159" y="0"/>
                    <a:pt x="161" y="2"/>
                  </a:cubicBezTo>
                  <a:cubicBezTo>
                    <a:pt x="162" y="3"/>
                    <a:pt x="162" y="6"/>
                    <a:pt x="160" y="8"/>
                  </a:cubicBezTo>
                  <a:cubicBezTo>
                    <a:pt x="144" y="22"/>
                    <a:pt x="125" y="40"/>
                    <a:pt x="125" y="45"/>
                  </a:cubicBezTo>
                  <a:cubicBezTo>
                    <a:pt x="125" y="46"/>
                    <a:pt x="124" y="47"/>
                    <a:pt x="122" y="48"/>
                  </a:cubicBezTo>
                  <a:cubicBezTo>
                    <a:pt x="101" y="56"/>
                    <a:pt x="78" y="69"/>
                    <a:pt x="76" y="75"/>
                  </a:cubicBezTo>
                  <a:cubicBezTo>
                    <a:pt x="76" y="75"/>
                    <a:pt x="75" y="77"/>
                    <a:pt x="74" y="78"/>
                  </a:cubicBezTo>
                  <a:cubicBezTo>
                    <a:pt x="53" y="87"/>
                    <a:pt x="19" y="105"/>
                    <a:pt x="15" y="114"/>
                  </a:cubicBezTo>
                  <a:cubicBezTo>
                    <a:pt x="10" y="125"/>
                    <a:pt x="9" y="134"/>
                    <a:pt x="13" y="138"/>
                  </a:cubicBezTo>
                  <a:cubicBezTo>
                    <a:pt x="16" y="141"/>
                    <a:pt x="23" y="140"/>
                    <a:pt x="28" y="139"/>
                  </a:cubicBezTo>
                  <a:cubicBezTo>
                    <a:pt x="55" y="131"/>
                    <a:pt x="103" y="108"/>
                    <a:pt x="111" y="105"/>
                  </a:cubicBezTo>
                  <a:cubicBezTo>
                    <a:pt x="115" y="100"/>
                    <a:pt x="140" y="73"/>
                    <a:pt x="154" y="67"/>
                  </a:cubicBezTo>
                  <a:cubicBezTo>
                    <a:pt x="155" y="67"/>
                    <a:pt x="158" y="67"/>
                    <a:pt x="159" y="69"/>
                  </a:cubicBezTo>
                  <a:cubicBezTo>
                    <a:pt x="160" y="72"/>
                    <a:pt x="159" y="74"/>
                    <a:pt x="157" y="75"/>
                  </a:cubicBezTo>
                  <a:cubicBezTo>
                    <a:pt x="146" y="79"/>
                    <a:pt x="124" y="102"/>
                    <a:pt x="115" y="111"/>
                  </a:cubicBezTo>
                  <a:cubicBezTo>
                    <a:pt x="115" y="112"/>
                    <a:pt x="114" y="112"/>
                    <a:pt x="114" y="112"/>
                  </a:cubicBezTo>
                  <a:cubicBezTo>
                    <a:pt x="112" y="113"/>
                    <a:pt x="60" y="138"/>
                    <a:pt x="30" y="146"/>
                  </a:cubicBezTo>
                  <a:cubicBezTo>
                    <a:pt x="27" y="147"/>
                    <a:pt x="22" y="147"/>
                    <a:pt x="20" y="147"/>
                  </a:cubicBezTo>
                  <a:cubicBezTo>
                    <a:pt x="14" y="147"/>
                    <a:pt x="9" y="146"/>
                    <a:pt x="7" y="143"/>
                  </a:cubicBezTo>
                  <a:cubicBezTo>
                    <a:pt x="0" y="134"/>
                    <a:pt x="4" y="119"/>
                    <a:pt x="7" y="111"/>
                  </a:cubicBezTo>
                  <a:cubicBezTo>
                    <a:pt x="13" y="98"/>
                    <a:pt x="57" y="76"/>
                    <a:pt x="69" y="71"/>
                  </a:cubicBezTo>
                  <a:cubicBezTo>
                    <a:pt x="75" y="60"/>
                    <a:pt x="106" y="47"/>
                    <a:pt x="118" y="41"/>
                  </a:cubicBezTo>
                  <a:cubicBezTo>
                    <a:pt x="121" y="32"/>
                    <a:pt x="142" y="13"/>
                    <a:pt x="155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0" name="ïṡḷïdé">
              <a:extLst>
                <a:ext uri="{FF2B5EF4-FFF2-40B4-BE49-F238E27FC236}">
                  <a16:creationId xmlns="" xmlns:a16="http://schemas.microsoft.com/office/drawing/2014/main" id="{86408C61-68CB-488C-9BF1-BE74C14050EF}"/>
                </a:ext>
              </a:extLst>
            </p:cNvPr>
            <p:cNvSpPr/>
            <p:nvPr/>
          </p:nvSpPr>
          <p:spPr bwMode="auto">
            <a:xfrm>
              <a:off x="1169988" y="4860925"/>
              <a:ext cx="47625" cy="7938"/>
            </a:xfrm>
            <a:custGeom>
              <a:avLst/>
              <a:gdLst>
                <a:gd name="T0" fmla="*/ 125 w 133"/>
                <a:gd name="T1" fmla="*/ 1 h 20"/>
                <a:gd name="T2" fmla="*/ 130 w 133"/>
                <a:gd name="T3" fmla="*/ 2 h 20"/>
                <a:gd name="T4" fmla="*/ 129 w 133"/>
                <a:gd name="T5" fmla="*/ 7 h 20"/>
                <a:gd name="T6" fmla="*/ 72 w 133"/>
                <a:gd name="T7" fmla="*/ 19 h 20"/>
                <a:gd name="T8" fmla="*/ 3 w 133"/>
                <a:gd name="T9" fmla="*/ 13 h 20"/>
                <a:gd name="T10" fmla="*/ 0 w 133"/>
                <a:gd name="T11" fmla="*/ 8 h 20"/>
                <a:gd name="T12" fmla="*/ 4 w 133"/>
                <a:gd name="T13" fmla="*/ 5 h 20"/>
                <a:gd name="T14" fmla="*/ 125 w 133"/>
                <a:gd name="T1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20">
                  <a:moveTo>
                    <a:pt x="125" y="1"/>
                  </a:moveTo>
                  <a:cubicBezTo>
                    <a:pt x="127" y="0"/>
                    <a:pt x="129" y="1"/>
                    <a:pt x="130" y="2"/>
                  </a:cubicBezTo>
                  <a:cubicBezTo>
                    <a:pt x="132" y="4"/>
                    <a:pt x="132" y="6"/>
                    <a:pt x="129" y="7"/>
                  </a:cubicBezTo>
                  <a:cubicBezTo>
                    <a:pt x="115" y="17"/>
                    <a:pt x="94" y="19"/>
                    <a:pt x="72" y="19"/>
                  </a:cubicBezTo>
                  <a:cubicBezTo>
                    <a:pt x="47" y="19"/>
                    <a:pt x="22" y="16"/>
                    <a:pt x="3" y="13"/>
                  </a:cubicBezTo>
                  <a:cubicBezTo>
                    <a:pt x="1" y="13"/>
                    <a:pt x="0" y="10"/>
                    <a:pt x="0" y="8"/>
                  </a:cubicBezTo>
                  <a:cubicBezTo>
                    <a:pt x="0" y="6"/>
                    <a:pt x="2" y="5"/>
                    <a:pt x="4" y="5"/>
                  </a:cubicBezTo>
                  <a:cubicBezTo>
                    <a:pt x="38" y="10"/>
                    <a:pt x="97" y="19"/>
                    <a:pt x="125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1" name="i$ḷîḍe">
              <a:extLst>
                <a:ext uri="{FF2B5EF4-FFF2-40B4-BE49-F238E27FC236}">
                  <a16:creationId xmlns="" xmlns:a16="http://schemas.microsoft.com/office/drawing/2014/main" id="{FC6410B6-C85F-41D4-BF16-CC1ACA8B6F73}"/>
                </a:ext>
              </a:extLst>
            </p:cNvPr>
            <p:cNvSpPr/>
            <p:nvPr/>
          </p:nvSpPr>
          <p:spPr bwMode="auto">
            <a:xfrm>
              <a:off x="1189038" y="4791075"/>
              <a:ext cx="46037" cy="26988"/>
            </a:xfrm>
            <a:custGeom>
              <a:avLst/>
              <a:gdLst>
                <a:gd name="T0" fmla="*/ 123 w 128"/>
                <a:gd name="T1" fmla="*/ 67 h 77"/>
                <a:gd name="T2" fmla="*/ 127 w 128"/>
                <a:gd name="T3" fmla="*/ 71 h 77"/>
                <a:gd name="T4" fmla="*/ 123 w 128"/>
                <a:gd name="T5" fmla="*/ 76 h 77"/>
                <a:gd name="T6" fmla="*/ 23 w 128"/>
                <a:gd name="T7" fmla="*/ 27 h 77"/>
                <a:gd name="T8" fmla="*/ 1 w 128"/>
                <a:gd name="T9" fmla="*/ 7 h 77"/>
                <a:gd name="T10" fmla="*/ 1 w 128"/>
                <a:gd name="T11" fmla="*/ 1 h 77"/>
                <a:gd name="T12" fmla="*/ 7 w 128"/>
                <a:gd name="T13" fmla="*/ 1 h 77"/>
                <a:gd name="T14" fmla="*/ 29 w 128"/>
                <a:gd name="T15" fmla="*/ 21 h 77"/>
                <a:gd name="T16" fmla="*/ 123 w 128"/>
                <a:gd name="T1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77">
                  <a:moveTo>
                    <a:pt x="123" y="67"/>
                  </a:moveTo>
                  <a:cubicBezTo>
                    <a:pt x="126" y="67"/>
                    <a:pt x="127" y="69"/>
                    <a:pt x="127" y="71"/>
                  </a:cubicBezTo>
                  <a:cubicBezTo>
                    <a:pt x="127" y="73"/>
                    <a:pt x="124" y="76"/>
                    <a:pt x="123" y="76"/>
                  </a:cubicBezTo>
                  <a:cubicBezTo>
                    <a:pt x="77" y="74"/>
                    <a:pt x="55" y="53"/>
                    <a:pt x="23" y="27"/>
                  </a:cubicBezTo>
                  <a:cubicBezTo>
                    <a:pt x="16" y="20"/>
                    <a:pt x="9" y="14"/>
                    <a:pt x="1" y="7"/>
                  </a:cubicBezTo>
                  <a:cubicBezTo>
                    <a:pt x="0" y="6"/>
                    <a:pt x="0" y="3"/>
                    <a:pt x="1" y="1"/>
                  </a:cubicBezTo>
                  <a:cubicBezTo>
                    <a:pt x="2" y="0"/>
                    <a:pt x="5" y="0"/>
                    <a:pt x="7" y="1"/>
                  </a:cubicBezTo>
                  <a:cubicBezTo>
                    <a:pt x="15" y="8"/>
                    <a:pt x="22" y="14"/>
                    <a:pt x="29" y="21"/>
                  </a:cubicBezTo>
                  <a:cubicBezTo>
                    <a:pt x="60" y="48"/>
                    <a:pt x="81" y="66"/>
                    <a:pt x="123" y="67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2" name="ïS1íḋè">
              <a:extLst>
                <a:ext uri="{FF2B5EF4-FFF2-40B4-BE49-F238E27FC236}">
                  <a16:creationId xmlns="" xmlns:a16="http://schemas.microsoft.com/office/drawing/2014/main" id="{2F90162A-5C57-4BB4-BED7-468671EF14A1}"/>
                </a:ext>
              </a:extLst>
            </p:cNvPr>
            <p:cNvSpPr/>
            <p:nvPr/>
          </p:nvSpPr>
          <p:spPr bwMode="auto">
            <a:xfrm>
              <a:off x="1274763" y="4692650"/>
              <a:ext cx="12700" cy="46038"/>
            </a:xfrm>
            <a:custGeom>
              <a:avLst/>
              <a:gdLst>
                <a:gd name="T0" fmla="*/ 31 w 35"/>
                <a:gd name="T1" fmla="*/ 0 h 127"/>
                <a:gd name="T2" fmla="*/ 34 w 35"/>
                <a:gd name="T3" fmla="*/ 5 h 127"/>
                <a:gd name="T4" fmla="*/ 26 w 35"/>
                <a:gd name="T5" fmla="*/ 29 h 127"/>
                <a:gd name="T6" fmla="*/ 12 w 35"/>
                <a:gd name="T7" fmla="*/ 122 h 127"/>
                <a:gd name="T8" fmla="*/ 8 w 35"/>
                <a:gd name="T9" fmla="*/ 126 h 127"/>
                <a:gd name="T10" fmla="*/ 7 w 35"/>
                <a:gd name="T11" fmla="*/ 126 h 127"/>
                <a:gd name="T12" fmla="*/ 3 w 35"/>
                <a:gd name="T13" fmla="*/ 123 h 127"/>
                <a:gd name="T14" fmla="*/ 19 w 35"/>
                <a:gd name="T15" fmla="*/ 27 h 127"/>
                <a:gd name="T16" fmla="*/ 26 w 35"/>
                <a:gd name="T17" fmla="*/ 3 h 127"/>
                <a:gd name="T18" fmla="*/ 31 w 35"/>
                <a:gd name="T1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27">
                  <a:moveTo>
                    <a:pt x="31" y="0"/>
                  </a:moveTo>
                  <a:cubicBezTo>
                    <a:pt x="33" y="1"/>
                    <a:pt x="34" y="3"/>
                    <a:pt x="34" y="5"/>
                  </a:cubicBezTo>
                  <a:cubicBezTo>
                    <a:pt x="32" y="12"/>
                    <a:pt x="29" y="21"/>
                    <a:pt x="26" y="29"/>
                  </a:cubicBezTo>
                  <a:cubicBezTo>
                    <a:pt x="16" y="58"/>
                    <a:pt x="8" y="86"/>
                    <a:pt x="12" y="122"/>
                  </a:cubicBezTo>
                  <a:cubicBezTo>
                    <a:pt x="12" y="124"/>
                    <a:pt x="9" y="126"/>
                    <a:pt x="8" y="126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6"/>
                    <a:pt x="3" y="125"/>
                    <a:pt x="3" y="123"/>
                  </a:cubicBezTo>
                  <a:cubicBezTo>
                    <a:pt x="0" y="86"/>
                    <a:pt x="9" y="57"/>
                    <a:pt x="19" y="27"/>
                  </a:cubicBezTo>
                  <a:cubicBezTo>
                    <a:pt x="21" y="18"/>
                    <a:pt x="23" y="11"/>
                    <a:pt x="26" y="3"/>
                  </a:cubicBezTo>
                  <a:cubicBezTo>
                    <a:pt x="27" y="1"/>
                    <a:pt x="29" y="0"/>
                    <a:pt x="31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3" name="íṡļïḑè">
              <a:extLst>
                <a:ext uri="{FF2B5EF4-FFF2-40B4-BE49-F238E27FC236}">
                  <a16:creationId xmlns="" xmlns:a16="http://schemas.microsoft.com/office/drawing/2014/main" id="{15A10734-D9C3-4753-A6FC-9002839ACE4D}"/>
                </a:ext>
              </a:extLst>
            </p:cNvPr>
            <p:cNvSpPr/>
            <p:nvPr/>
          </p:nvSpPr>
          <p:spPr bwMode="auto">
            <a:xfrm>
              <a:off x="1543050" y="4838700"/>
              <a:ext cx="33338" cy="7938"/>
            </a:xfrm>
            <a:custGeom>
              <a:avLst/>
              <a:gdLst>
                <a:gd name="T0" fmla="*/ 86 w 92"/>
                <a:gd name="T1" fmla="*/ 1 h 20"/>
                <a:gd name="T2" fmla="*/ 90 w 92"/>
                <a:gd name="T3" fmla="*/ 4 h 20"/>
                <a:gd name="T4" fmla="*/ 88 w 92"/>
                <a:gd name="T5" fmla="*/ 8 h 20"/>
                <a:gd name="T6" fmla="*/ 33 w 92"/>
                <a:gd name="T7" fmla="*/ 17 h 20"/>
                <a:gd name="T8" fmla="*/ 5 w 92"/>
                <a:gd name="T9" fmla="*/ 19 h 20"/>
                <a:gd name="T10" fmla="*/ 0 w 92"/>
                <a:gd name="T11" fmla="*/ 16 h 20"/>
                <a:gd name="T12" fmla="*/ 4 w 92"/>
                <a:gd name="T13" fmla="*/ 11 h 20"/>
                <a:gd name="T14" fmla="*/ 32 w 92"/>
                <a:gd name="T15" fmla="*/ 9 h 20"/>
                <a:gd name="T16" fmla="*/ 86 w 92"/>
                <a:gd name="T1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20">
                  <a:moveTo>
                    <a:pt x="86" y="1"/>
                  </a:moveTo>
                  <a:cubicBezTo>
                    <a:pt x="87" y="0"/>
                    <a:pt x="89" y="2"/>
                    <a:pt x="90" y="4"/>
                  </a:cubicBezTo>
                  <a:cubicBezTo>
                    <a:pt x="91" y="7"/>
                    <a:pt x="90" y="7"/>
                    <a:pt x="88" y="8"/>
                  </a:cubicBezTo>
                  <a:cubicBezTo>
                    <a:pt x="71" y="15"/>
                    <a:pt x="51" y="16"/>
                    <a:pt x="33" y="17"/>
                  </a:cubicBezTo>
                  <a:cubicBezTo>
                    <a:pt x="24" y="18"/>
                    <a:pt x="14" y="18"/>
                    <a:pt x="5" y="19"/>
                  </a:cubicBezTo>
                  <a:cubicBezTo>
                    <a:pt x="2" y="19"/>
                    <a:pt x="1" y="18"/>
                    <a:pt x="0" y="16"/>
                  </a:cubicBezTo>
                  <a:cubicBezTo>
                    <a:pt x="0" y="14"/>
                    <a:pt x="1" y="13"/>
                    <a:pt x="4" y="11"/>
                  </a:cubicBezTo>
                  <a:cubicBezTo>
                    <a:pt x="14" y="10"/>
                    <a:pt x="23" y="10"/>
                    <a:pt x="32" y="9"/>
                  </a:cubicBezTo>
                  <a:cubicBezTo>
                    <a:pt x="51" y="8"/>
                    <a:pt x="70" y="8"/>
                    <a:pt x="86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4" name="îṩľïdé">
              <a:extLst>
                <a:ext uri="{FF2B5EF4-FFF2-40B4-BE49-F238E27FC236}">
                  <a16:creationId xmlns="" xmlns:a16="http://schemas.microsoft.com/office/drawing/2014/main" id="{20161512-33C0-4548-B94D-67E505041060}"/>
                </a:ext>
              </a:extLst>
            </p:cNvPr>
            <p:cNvSpPr/>
            <p:nvPr/>
          </p:nvSpPr>
          <p:spPr bwMode="auto">
            <a:xfrm>
              <a:off x="1512888" y="4892675"/>
              <a:ext cx="36512" cy="7938"/>
            </a:xfrm>
            <a:custGeom>
              <a:avLst/>
              <a:gdLst>
                <a:gd name="T0" fmla="*/ 97 w 103"/>
                <a:gd name="T1" fmla="*/ 11 h 20"/>
                <a:gd name="T2" fmla="*/ 102 w 103"/>
                <a:gd name="T3" fmla="*/ 16 h 20"/>
                <a:gd name="T4" fmla="*/ 97 w 103"/>
                <a:gd name="T5" fmla="*/ 19 h 20"/>
                <a:gd name="T6" fmla="*/ 89 w 103"/>
                <a:gd name="T7" fmla="*/ 19 h 20"/>
                <a:gd name="T8" fmla="*/ 1 w 103"/>
                <a:gd name="T9" fmla="*/ 6 h 20"/>
                <a:gd name="T10" fmla="*/ 3 w 103"/>
                <a:gd name="T11" fmla="*/ 1 h 20"/>
                <a:gd name="T12" fmla="*/ 7 w 103"/>
                <a:gd name="T13" fmla="*/ 2 h 20"/>
                <a:gd name="T14" fmla="*/ 97 w 103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20">
                  <a:moveTo>
                    <a:pt x="97" y="11"/>
                  </a:moveTo>
                  <a:cubicBezTo>
                    <a:pt x="99" y="11"/>
                    <a:pt x="102" y="14"/>
                    <a:pt x="102" y="16"/>
                  </a:cubicBezTo>
                  <a:cubicBezTo>
                    <a:pt x="102" y="19"/>
                    <a:pt x="99" y="19"/>
                    <a:pt x="97" y="19"/>
                  </a:cubicBezTo>
                  <a:cubicBezTo>
                    <a:pt x="96" y="19"/>
                    <a:pt x="92" y="19"/>
                    <a:pt x="89" y="19"/>
                  </a:cubicBezTo>
                  <a:cubicBezTo>
                    <a:pt x="63" y="19"/>
                    <a:pt x="7" y="17"/>
                    <a:pt x="1" y="6"/>
                  </a:cubicBezTo>
                  <a:cubicBezTo>
                    <a:pt x="0" y="4"/>
                    <a:pt x="0" y="2"/>
                    <a:pt x="3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3" y="8"/>
                    <a:pt x="62" y="12"/>
                    <a:pt x="97" y="1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5" name="i$ľídé">
              <a:extLst>
                <a:ext uri="{FF2B5EF4-FFF2-40B4-BE49-F238E27FC236}">
                  <a16:creationId xmlns="" xmlns:a16="http://schemas.microsoft.com/office/drawing/2014/main" id="{EAECBF45-3CF8-4D56-865C-8550519C660C}"/>
                </a:ext>
              </a:extLst>
            </p:cNvPr>
            <p:cNvSpPr/>
            <p:nvPr/>
          </p:nvSpPr>
          <p:spPr bwMode="auto">
            <a:xfrm>
              <a:off x="1474788" y="4924425"/>
              <a:ext cx="50800" cy="25400"/>
            </a:xfrm>
            <a:custGeom>
              <a:avLst/>
              <a:gdLst>
                <a:gd name="T0" fmla="*/ 138 w 143"/>
                <a:gd name="T1" fmla="*/ 63 h 71"/>
                <a:gd name="T2" fmla="*/ 142 w 143"/>
                <a:gd name="T3" fmla="*/ 67 h 71"/>
                <a:gd name="T4" fmla="*/ 138 w 143"/>
                <a:gd name="T5" fmla="*/ 70 h 71"/>
                <a:gd name="T6" fmla="*/ 137 w 143"/>
                <a:gd name="T7" fmla="*/ 70 h 71"/>
                <a:gd name="T8" fmla="*/ 40 w 143"/>
                <a:gd name="T9" fmla="*/ 30 h 71"/>
                <a:gd name="T10" fmla="*/ 3 w 143"/>
                <a:gd name="T11" fmla="*/ 8 h 71"/>
                <a:gd name="T12" fmla="*/ 1 w 143"/>
                <a:gd name="T13" fmla="*/ 3 h 71"/>
                <a:gd name="T14" fmla="*/ 7 w 143"/>
                <a:gd name="T15" fmla="*/ 1 h 71"/>
                <a:gd name="T16" fmla="*/ 45 w 143"/>
                <a:gd name="T17" fmla="*/ 23 h 71"/>
                <a:gd name="T18" fmla="*/ 138 w 143"/>
                <a:gd name="T19" fmla="*/ 6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71">
                  <a:moveTo>
                    <a:pt x="138" y="63"/>
                  </a:moveTo>
                  <a:cubicBezTo>
                    <a:pt x="141" y="63"/>
                    <a:pt x="142" y="65"/>
                    <a:pt x="142" y="67"/>
                  </a:cubicBezTo>
                  <a:cubicBezTo>
                    <a:pt x="142" y="70"/>
                    <a:pt x="139" y="70"/>
                    <a:pt x="138" y="70"/>
                  </a:cubicBezTo>
                  <a:cubicBezTo>
                    <a:pt x="136" y="70"/>
                    <a:pt x="137" y="70"/>
                    <a:pt x="137" y="70"/>
                  </a:cubicBezTo>
                  <a:cubicBezTo>
                    <a:pt x="101" y="68"/>
                    <a:pt x="70" y="49"/>
                    <a:pt x="40" y="30"/>
                  </a:cubicBezTo>
                  <a:cubicBezTo>
                    <a:pt x="27" y="22"/>
                    <a:pt x="15" y="14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7" y="1"/>
                  </a:cubicBezTo>
                  <a:cubicBezTo>
                    <a:pt x="19" y="7"/>
                    <a:pt x="31" y="15"/>
                    <a:pt x="45" y="23"/>
                  </a:cubicBezTo>
                  <a:cubicBezTo>
                    <a:pt x="74" y="42"/>
                    <a:pt x="104" y="61"/>
                    <a:pt x="138" y="6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6" name="išľïḑê">
              <a:extLst>
                <a:ext uri="{FF2B5EF4-FFF2-40B4-BE49-F238E27FC236}">
                  <a16:creationId xmlns="" xmlns:a16="http://schemas.microsoft.com/office/drawing/2014/main" id="{A7EE5A98-E113-4091-BBF2-E54979732A5A}"/>
                </a:ext>
              </a:extLst>
            </p:cNvPr>
            <p:cNvSpPr/>
            <p:nvPr/>
          </p:nvSpPr>
          <p:spPr bwMode="auto">
            <a:xfrm>
              <a:off x="1463675" y="4933950"/>
              <a:ext cx="49213" cy="36513"/>
            </a:xfrm>
            <a:custGeom>
              <a:avLst/>
              <a:gdLst>
                <a:gd name="T0" fmla="*/ 134 w 138"/>
                <a:gd name="T1" fmla="*/ 93 h 103"/>
                <a:gd name="T2" fmla="*/ 137 w 138"/>
                <a:gd name="T3" fmla="*/ 97 h 103"/>
                <a:gd name="T4" fmla="*/ 134 w 138"/>
                <a:gd name="T5" fmla="*/ 102 h 103"/>
                <a:gd name="T6" fmla="*/ 131 w 138"/>
                <a:gd name="T7" fmla="*/ 102 h 103"/>
                <a:gd name="T8" fmla="*/ 1 w 138"/>
                <a:gd name="T9" fmla="*/ 8 h 103"/>
                <a:gd name="T10" fmla="*/ 2 w 138"/>
                <a:gd name="T11" fmla="*/ 2 h 103"/>
                <a:gd name="T12" fmla="*/ 8 w 138"/>
                <a:gd name="T13" fmla="*/ 4 h 103"/>
                <a:gd name="T14" fmla="*/ 134 w 138"/>
                <a:gd name="T15" fmla="*/ 9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103">
                  <a:moveTo>
                    <a:pt x="134" y="93"/>
                  </a:moveTo>
                  <a:cubicBezTo>
                    <a:pt x="135" y="93"/>
                    <a:pt x="137" y="95"/>
                    <a:pt x="137" y="97"/>
                  </a:cubicBezTo>
                  <a:cubicBezTo>
                    <a:pt x="137" y="99"/>
                    <a:pt x="136" y="102"/>
                    <a:pt x="134" y="102"/>
                  </a:cubicBezTo>
                  <a:cubicBezTo>
                    <a:pt x="132" y="102"/>
                    <a:pt x="132" y="102"/>
                    <a:pt x="131" y="102"/>
                  </a:cubicBezTo>
                  <a:cubicBezTo>
                    <a:pt x="76" y="102"/>
                    <a:pt x="24" y="54"/>
                    <a:pt x="1" y="8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5" y="0"/>
                    <a:pt x="7" y="2"/>
                    <a:pt x="8" y="4"/>
                  </a:cubicBezTo>
                  <a:cubicBezTo>
                    <a:pt x="29" y="48"/>
                    <a:pt x="80" y="95"/>
                    <a:pt x="134" y="9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7" name="íṧliḋê">
              <a:extLst>
                <a:ext uri="{FF2B5EF4-FFF2-40B4-BE49-F238E27FC236}">
                  <a16:creationId xmlns="" xmlns:a16="http://schemas.microsoft.com/office/drawing/2014/main" id="{8E023282-8A1C-4620-95DA-B5D96CF2E02B}"/>
                </a:ext>
              </a:extLst>
            </p:cNvPr>
            <p:cNvSpPr/>
            <p:nvPr/>
          </p:nvSpPr>
          <p:spPr bwMode="auto">
            <a:xfrm>
              <a:off x="1255713" y="4757738"/>
              <a:ext cx="25400" cy="20637"/>
            </a:xfrm>
            <a:custGeom>
              <a:avLst/>
              <a:gdLst>
                <a:gd name="T0" fmla="*/ 67 w 72"/>
                <a:gd name="T1" fmla="*/ 47 h 56"/>
                <a:gd name="T2" fmla="*/ 71 w 72"/>
                <a:gd name="T3" fmla="*/ 51 h 56"/>
                <a:gd name="T4" fmla="*/ 66 w 72"/>
                <a:gd name="T5" fmla="*/ 55 h 56"/>
                <a:gd name="T6" fmla="*/ 1 w 72"/>
                <a:gd name="T7" fmla="*/ 7 h 56"/>
                <a:gd name="T8" fmla="*/ 1 w 72"/>
                <a:gd name="T9" fmla="*/ 1 h 56"/>
                <a:gd name="T10" fmla="*/ 7 w 72"/>
                <a:gd name="T11" fmla="*/ 2 h 56"/>
                <a:gd name="T12" fmla="*/ 67 w 72"/>
                <a:gd name="T13" fmla="*/ 4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56">
                  <a:moveTo>
                    <a:pt x="67" y="47"/>
                  </a:moveTo>
                  <a:cubicBezTo>
                    <a:pt x="70" y="47"/>
                    <a:pt x="71" y="49"/>
                    <a:pt x="71" y="51"/>
                  </a:cubicBezTo>
                  <a:cubicBezTo>
                    <a:pt x="70" y="53"/>
                    <a:pt x="68" y="55"/>
                    <a:pt x="66" y="55"/>
                  </a:cubicBezTo>
                  <a:cubicBezTo>
                    <a:pt x="37" y="50"/>
                    <a:pt x="20" y="31"/>
                    <a:pt x="1" y="7"/>
                  </a:cubicBezTo>
                  <a:cubicBezTo>
                    <a:pt x="0" y="5"/>
                    <a:pt x="0" y="2"/>
                    <a:pt x="1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26" y="25"/>
                    <a:pt x="41" y="43"/>
                    <a:pt x="67" y="47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8" name="ïṩḷîďé">
              <a:extLst>
                <a:ext uri="{FF2B5EF4-FFF2-40B4-BE49-F238E27FC236}">
                  <a16:creationId xmlns="" xmlns:a16="http://schemas.microsoft.com/office/drawing/2014/main" id="{23839EDF-CA4A-43BF-9A63-C29651A303AA}"/>
                </a:ext>
              </a:extLst>
            </p:cNvPr>
            <p:cNvSpPr/>
            <p:nvPr/>
          </p:nvSpPr>
          <p:spPr bwMode="auto">
            <a:xfrm>
              <a:off x="1154113" y="4870450"/>
              <a:ext cx="53975" cy="12700"/>
            </a:xfrm>
            <a:custGeom>
              <a:avLst/>
              <a:gdLst>
                <a:gd name="T0" fmla="*/ 141 w 148"/>
                <a:gd name="T1" fmla="*/ 23 h 36"/>
                <a:gd name="T2" fmla="*/ 146 w 148"/>
                <a:gd name="T3" fmla="*/ 26 h 36"/>
                <a:gd name="T4" fmla="*/ 143 w 148"/>
                <a:gd name="T5" fmla="*/ 30 h 36"/>
                <a:gd name="T6" fmla="*/ 104 w 148"/>
                <a:gd name="T7" fmla="*/ 35 h 36"/>
                <a:gd name="T8" fmla="*/ 10 w 148"/>
                <a:gd name="T9" fmla="*/ 11 h 36"/>
                <a:gd name="T10" fmla="*/ 2 w 148"/>
                <a:gd name="T11" fmla="*/ 8 h 36"/>
                <a:gd name="T12" fmla="*/ 1 w 148"/>
                <a:gd name="T13" fmla="*/ 4 h 36"/>
                <a:gd name="T14" fmla="*/ 5 w 148"/>
                <a:gd name="T15" fmla="*/ 1 h 36"/>
                <a:gd name="T16" fmla="*/ 13 w 148"/>
                <a:gd name="T17" fmla="*/ 5 h 36"/>
                <a:gd name="T18" fmla="*/ 141 w 148"/>
                <a:gd name="T19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36">
                  <a:moveTo>
                    <a:pt x="141" y="23"/>
                  </a:moveTo>
                  <a:cubicBezTo>
                    <a:pt x="143" y="23"/>
                    <a:pt x="146" y="24"/>
                    <a:pt x="146" y="26"/>
                  </a:cubicBezTo>
                  <a:cubicBezTo>
                    <a:pt x="147" y="27"/>
                    <a:pt x="146" y="29"/>
                    <a:pt x="143" y="30"/>
                  </a:cubicBezTo>
                  <a:cubicBezTo>
                    <a:pt x="130" y="34"/>
                    <a:pt x="116" y="35"/>
                    <a:pt x="104" y="35"/>
                  </a:cubicBezTo>
                  <a:cubicBezTo>
                    <a:pt x="71" y="35"/>
                    <a:pt x="43" y="24"/>
                    <a:pt x="10" y="11"/>
                  </a:cubicBezTo>
                  <a:lnTo>
                    <a:pt x="2" y="8"/>
                  </a:lnTo>
                  <a:cubicBezTo>
                    <a:pt x="1" y="8"/>
                    <a:pt x="0" y="6"/>
                    <a:pt x="1" y="4"/>
                  </a:cubicBezTo>
                  <a:cubicBezTo>
                    <a:pt x="1" y="1"/>
                    <a:pt x="3" y="0"/>
                    <a:pt x="5" y="1"/>
                  </a:cubicBezTo>
                  <a:lnTo>
                    <a:pt x="13" y="5"/>
                  </a:lnTo>
                  <a:cubicBezTo>
                    <a:pt x="57" y="21"/>
                    <a:pt x="92" y="35"/>
                    <a:pt x="141" y="2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09" name="i$ḻídé">
              <a:extLst>
                <a:ext uri="{FF2B5EF4-FFF2-40B4-BE49-F238E27FC236}">
                  <a16:creationId xmlns="" xmlns:a16="http://schemas.microsoft.com/office/drawing/2014/main" id="{A91D5473-3B90-4E9A-AA63-6FF9D3FE2CD2}"/>
                </a:ext>
              </a:extLst>
            </p:cNvPr>
            <p:cNvSpPr/>
            <p:nvPr/>
          </p:nvSpPr>
          <p:spPr bwMode="auto">
            <a:xfrm>
              <a:off x="1179513" y="4810125"/>
              <a:ext cx="36512" cy="30163"/>
            </a:xfrm>
            <a:custGeom>
              <a:avLst/>
              <a:gdLst>
                <a:gd name="T0" fmla="*/ 99 w 102"/>
                <a:gd name="T1" fmla="*/ 73 h 82"/>
                <a:gd name="T2" fmla="*/ 100 w 102"/>
                <a:gd name="T3" fmla="*/ 79 h 82"/>
                <a:gd name="T4" fmla="*/ 97 w 102"/>
                <a:gd name="T5" fmla="*/ 81 h 82"/>
                <a:gd name="T6" fmla="*/ 96 w 102"/>
                <a:gd name="T7" fmla="*/ 80 h 82"/>
                <a:gd name="T8" fmla="*/ 1 w 102"/>
                <a:gd name="T9" fmla="*/ 6 h 82"/>
                <a:gd name="T10" fmla="*/ 3 w 102"/>
                <a:gd name="T11" fmla="*/ 1 h 82"/>
                <a:gd name="T12" fmla="*/ 9 w 102"/>
                <a:gd name="T13" fmla="*/ 3 h 82"/>
                <a:gd name="T14" fmla="*/ 99 w 102"/>
                <a:gd name="T15" fmla="*/ 7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2">
                  <a:moveTo>
                    <a:pt x="99" y="73"/>
                  </a:moveTo>
                  <a:cubicBezTo>
                    <a:pt x="100" y="74"/>
                    <a:pt x="101" y="76"/>
                    <a:pt x="100" y="79"/>
                  </a:cubicBezTo>
                  <a:cubicBezTo>
                    <a:pt x="100" y="80"/>
                    <a:pt x="99" y="81"/>
                    <a:pt x="97" y="81"/>
                  </a:cubicBezTo>
                  <a:lnTo>
                    <a:pt x="96" y="80"/>
                  </a:lnTo>
                  <a:cubicBezTo>
                    <a:pt x="63" y="67"/>
                    <a:pt x="23" y="40"/>
                    <a:pt x="1" y="6"/>
                  </a:cubicBezTo>
                  <a:cubicBezTo>
                    <a:pt x="0" y="5"/>
                    <a:pt x="1" y="3"/>
                    <a:pt x="3" y="1"/>
                  </a:cubicBezTo>
                  <a:cubicBezTo>
                    <a:pt x="5" y="0"/>
                    <a:pt x="7" y="0"/>
                    <a:pt x="9" y="3"/>
                  </a:cubicBezTo>
                  <a:cubicBezTo>
                    <a:pt x="29" y="34"/>
                    <a:pt x="68" y="60"/>
                    <a:pt x="99" y="7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0" name="íśliḍe">
              <a:extLst>
                <a:ext uri="{FF2B5EF4-FFF2-40B4-BE49-F238E27FC236}">
                  <a16:creationId xmlns="" xmlns:a16="http://schemas.microsoft.com/office/drawing/2014/main" id="{CA0391A5-C56F-4B53-95C8-EA87A66F7745}"/>
                </a:ext>
              </a:extLst>
            </p:cNvPr>
            <p:cNvSpPr/>
            <p:nvPr/>
          </p:nvSpPr>
          <p:spPr bwMode="auto">
            <a:xfrm>
              <a:off x="1292225" y="5168900"/>
              <a:ext cx="7938" cy="7938"/>
            </a:xfrm>
            <a:custGeom>
              <a:avLst/>
              <a:gdLst>
                <a:gd name="T0" fmla="*/ 6 w 20"/>
                <a:gd name="T1" fmla="*/ 1 h 20"/>
                <a:gd name="T2" fmla="*/ 17 w 20"/>
                <a:gd name="T3" fmla="*/ 13 h 20"/>
                <a:gd name="T4" fmla="*/ 17 w 20"/>
                <a:gd name="T5" fmla="*/ 18 h 20"/>
                <a:gd name="T6" fmla="*/ 14 w 20"/>
                <a:gd name="T7" fmla="*/ 19 h 20"/>
                <a:gd name="T8" fmla="*/ 11 w 20"/>
                <a:gd name="T9" fmla="*/ 18 h 20"/>
                <a:gd name="T10" fmla="*/ 1 w 20"/>
                <a:gd name="T11" fmla="*/ 6 h 20"/>
                <a:gd name="T12" fmla="*/ 1 w 20"/>
                <a:gd name="T13" fmla="*/ 1 h 20"/>
                <a:gd name="T14" fmla="*/ 6 w 20"/>
                <a:gd name="T15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6" y="1"/>
                  </a:moveTo>
                  <a:cubicBezTo>
                    <a:pt x="10" y="4"/>
                    <a:pt x="14" y="10"/>
                    <a:pt x="17" y="13"/>
                  </a:cubicBezTo>
                  <a:cubicBezTo>
                    <a:pt x="19" y="15"/>
                    <a:pt x="18" y="17"/>
                    <a:pt x="17" y="18"/>
                  </a:cubicBezTo>
                  <a:cubicBezTo>
                    <a:pt x="16" y="19"/>
                    <a:pt x="15" y="19"/>
                    <a:pt x="14" y="19"/>
                  </a:cubicBezTo>
                  <a:cubicBezTo>
                    <a:pt x="12" y="19"/>
                    <a:pt x="12" y="18"/>
                    <a:pt x="11" y="18"/>
                  </a:cubicBezTo>
                  <a:cubicBezTo>
                    <a:pt x="8" y="14"/>
                    <a:pt x="4" y="10"/>
                    <a:pt x="1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1" name="ïṡḻíḋè">
              <a:extLst>
                <a:ext uri="{FF2B5EF4-FFF2-40B4-BE49-F238E27FC236}">
                  <a16:creationId xmlns="" xmlns:a16="http://schemas.microsoft.com/office/drawing/2014/main" id="{85E674D7-483C-4FE9-9CA0-5077C3883DFD}"/>
                </a:ext>
              </a:extLst>
            </p:cNvPr>
            <p:cNvSpPr/>
            <p:nvPr/>
          </p:nvSpPr>
          <p:spPr bwMode="auto">
            <a:xfrm>
              <a:off x="1157288" y="5102225"/>
              <a:ext cx="7937" cy="3175"/>
            </a:xfrm>
            <a:custGeom>
              <a:avLst/>
              <a:gdLst>
                <a:gd name="T0" fmla="*/ 13 w 20"/>
                <a:gd name="T1" fmla="*/ 1 h 11"/>
                <a:gd name="T2" fmla="*/ 18 w 20"/>
                <a:gd name="T3" fmla="*/ 4 h 11"/>
                <a:gd name="T4" fmla="*/ 15 w 20"/>
                <a:gd name="T5" fmla="*/ 8 h 11"/>
                <a:gd name="T6" fmla="*/ 5 w 20"/>
                <a:gd name="T7" fmla="*/ 10 h 11"/>
                <a:gd name="T8" fmla="*/ 0 w 20"/>
                <a:gd name="T9" fmla="*/ 7 h 11"/>
                <a:gd name="T10" fmla="*/ 5 w 20"/>
                <a:gd name="T11" fmla="*/ 3 h 11"/>
                <a:gd name="T12" fmla="*/ 13 w 20"/>
                <a:gd name="T1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1">
                  <a:moveTo>
                    <a:pt x="13" y="1"/>
                  </a:moveTo>
                  <a:cubicBezTo>
                    <a:pt x="14" y="0"/>
                    <a:pt x="17" y="2"/>
                    <a:pt x="18" y="4"/>
                  </a:cubicBezTo>
                  <a:cubicBezTo>
                    <a:pt x="19" y="7"/>
                    <a:pt x="18" y="8"/>
                    <a:pt x="15" y="8"/>
                  </a:cubicBezTo>
                  <a:cubicBezTo>
                    <a:pt x="12" y="9"/>
                    <a:pt x="8" y="10"/>
                    <a:pt x="5" y="10"/>
                  </a:cubicBezTo>
                  <a:cubicBezTo>
                    <a:pt x="2" y="10"/>
                    <a:pt x="0" y="9"/>
                    <a:pt x="0" y="7"/>
                  </a:cubicBezTo>
                  <a:cubicBezTo>
                    <a:pt x="0" y="5"/>
                    <a:pt x="2" y="3"/>
                    <a:pt x="5" y="3"/>
                  </a:cubicBezTo>
                  <a:cubicBezTo>
                    <a:pt x="7" y="3"/>
                    <a:pt x="9" y="3"/>
                    <a:pt x="13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2" name="iṥḷîḍé">
              <a:extLst>
                <a:ext uri="{FF2B5EF4-FFF2-40B4-BE49-F238E27FC236}">
                  <a16:creationId xmlns="" xmlns:a16="http://schemas.microsoft.com/office/drawing/2014/main" id="{CD654A83-5F17-4FFC-9104-8E847FB3906C}"/>
                </a:ext>
              </a:extLst>
            </p:cNvPr>
            <p:cNvSpPr/>
            <p:nvPr/>
          </p:nvSpPr>
          <p:spPr bwMode="auto">
            <a:xfrm>
              <a:off x="1155700" y="5121275"/>
              <a:ext cx="11113" cy="14288"/>
            </a:xfrm>
            <a:custGeom>
              <a:avLst/>
              <a:gdLst>
                <a:gd name="T0" fmla="*/ 20 w 30"/>
                <a:gd name="T1" fmla="*/ 30 h 41"/>
                <a:gd name="T2" fmla="*/ 19 w 30"/>
                <a:gd name="T3" fmla="*/ 9 h 41"/>
                <a:gd name="T4" fmla="*/ 8 w 30"/>
                <a:gd name="T5" fmla="*/ 6 h 41"/>
                <a:gd name="T6" fmla="*/ 7 w 30"/>
                <a:gd name="T7" fmla="*/ 7 h 41"/>
                <a:gd name="T8" fmla="*/ 7 w 30"/>
                <a:gd name="T9" fmla="*/ 15 h 41"/>
                <a:gd name="T10" fmla="*/ 8 w 30"/>
                <a:gd name="T11" fmla="*/ 31 h 41"/>
                <a:gd name="T12" fmla="*/ 16 w 30"/>
                <a:gd name="T13" fmla="*/ 33 h 41"/>
                <a:gd name="T14" fmla="*/ 20 w 30"/>
                <a:gd name="T15" fmla="*/ 30 h 41"/>
                <a:gd name="T16" fmla="*/ 24 w 30"/>
                <a:gd name="T17" fmla="*/ 2 h 41"/>
                <a:gd name="T18" fmla="*/ 26 w 30"/>
                <a:gd name="T19" fmla="*/ 5 h 41"/>
                <a:gd name="T20" fmla="*/ 27 w 30"/>
                <a:gd name="T21" fmla="*/ 32 h 41"/>
                <a:gd name="T22" fmla="*/ 16 w 30"/>
                <a:gd name="T23" fmla="*/ 40 h 41"/>
                <a:gd name="T24" fmla="*/ 5 w 30"/>
                <a:gd name="T25" fmla="*/ 36 h 41"/>
                <a:gd name="T26" fmla="*/ 0 w 30"/>
                <a:gd name="T27" fmla="*/ 15 h 41"/>
                <a:gd name="T28" fmla="*/ 0 w 30"/>
                <a:gd name="T29" fmla="*/ 6 h 41"/>
                <a:gd name="T30" fmla="*/ 1 w 30"/>
                <a:gd name="T31" fmla="*/ 2 h 41"/>
                <a:gd name="T32" fmla="*/ 8 w 30"/>
                <a:gd name="T33" fmla="*/ 0 h 41"/>
                <a:gd name="T34" fmla="*/ 24 w 30"/>
                <a:gd name="T35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41">
                  <a:moveTo>
                    <a:pt x="20" y="30"/>
                  </a:moveTo>
                  <a:cubicBezTo>
                    <a:pt x="22" y="26"/>
                    <a:pt x="20" y="14"/>
                    <a:pt x="19" y="9"/>
                  </a:cubicBezTo>
                  <a:cubicBezTo>
                    <a:pt x="16" y="7"/>
                    <a:pt x="12" y="6"/>
                    <a:pt x="8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7" y="10"/>
                    <a:pt x="7" y="13"/>
                    <a:pt x="7" y="15"/>
                  </a:cubicBezTo>
                  <a:cubicBezTo>
                    <a:pt x="7" y="21"/>
                    <a:pt x="7" y="28"/>
                    <a:pt x="8" y="31"/>
                  </a:cubicBezTo>
                  <a:cubicBezTo>
                    <a:pt x="11" y="32"/>
                    <a:pt x="14" y="33"/>
                    <a:pt x="16" y="33"/>
                  </a:cubicBezTo>
                  <a:cubicBezTo>
                    <a:pt x="19" y="33"/>
                    <a:pt x="20" y="31"/>
                    <a:pt x="20" y="30"/>
                  </a:cubicBezTo>
                  <a:close/>
                  <a:moveTo>
                    <a:pt x="24" y="2"/>
                  </a:moveTo>
                  <a:cubicBezTo>
                    <a:pt x="25" y="2"/>
                    <a:pt x="26" y="3"/>
                    <a:pt x="26" y="5"/>
                  </a:cubicBezTo>
                  <a:cubicBezTo>
                    <a:pt x="26" y="6"/>
                    <a:pt x="29" y="24"/>
                    <a:pt x="27" y="32"/>
                  </a:cubicBezTo>
                  <a:cubicBezTo>
                    <a:pt x="26" y="36"/>
                    <a:pt x="23" y="40"/>
                    <a:pt x="16" y="40"/>
                  </a:cubicBezTo>
                  <a:cubicBezTo>
                    <a:pt x="12" y="40"/>
                    <a:pt x="8" y="38"/>
                    <a:pt x="5" y="36"/>
                  </a:cubicBezTo>
                  <a:cubicBezTo>
                    <a:pt x="1" y="34"/>
                    <a:pt x="0" y="25"/>
                    <a:pt x="0" y="15"/>
                  </a:cubicBezTo>
                  <a:cubicBezTo>
                    <a:pt x="0" y="12"/>
                    <a:pt x="0" y="9"/>
                    <a:pt x="0" y="6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3" y="0"/>
                    <a:pt x="5" y="0"/>
                    <a:pt x="8" y="0"/>
                  </a:cubicBezTo>
                  <a:cubicBezTo>
                    <a:pt x="15" y="0"/>
                    <a:pt x="23" y="2"/>
                    <a:pt x="24" y="2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3" name="iṣlîďé">
              <a:extLst>
                <a:ext uri="{FF2B5EF4-FFF2-40B4-BE49-F238E27FC236}">
                  <a16:creationId xmlns="" xmlns:a16="http://schemas.microsoft.com/office/drawing/2014/main" id="{6EE3E755-2210-4E5B-885C-0A103D6C89A5}"/>
                </a:ext>
              </a:extLst>
            </p:cNvPr>
            <p:cNvSpPr/>
            <p:nvPr/>
          </p:nvSpPr>
          <p:spPr bwMode="auto">
            <a:xfrm>
              <a:off x="1130300" y="5091113"/>
              <a:ext cx="11113" cy="25400"/>
            </a:xfrm>
            <a:custGeom>
              <a:avLst/>
              <a:gdLst>
                <a:gd name="T0" fmla="*/ 26 w 31"/>
                <a:gd name="T1" fmla="*/ 0 h 71"/>
                <a:gd name="T2" fmla="*/ 28 w 31"/>
                <a:gd name="T3" fmla="*/ 6 h 71"/>
                <a:gd name="T4" fmla="*/ 25 w 31"/>
                <a:gd name="T5" fmla="*/ 14 h 71"/>
                <a:gd name="T6" fmla="*/ 8 w 31"/>
                <a:gd name="T7" fmla="*/ 67 h 71"/>
                <a:gd name="T8" fmla="*/ 3 w 31"/>
                <a:gd name="T9" fmla="*/ 70 h 71"/>
                <a:gd name="T10" fmla="*/ 0 w 31"/>
                <a:gd name="T11" fmla="*/ 66 h 71"/>
                <a:gd name="T12" fmla="*/ 19 w 31"/>
                <a:gd name="T13" fmla="*/ 10 h 71"/>
                <a:gd name="T14" fmla="*/ 22 w 31"/>
                <a:gd name="T15" fmla="*/ 2 h 71"/>
                <a:gd name="T16" fmla="*/ 26 w 31"/>
                <a:gd name="T1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71">
                  <a:moveTo>
                    <a:pt x="26" y="0"/>
                  </a:moveTo>
                  <a:cubicBezTo>
                    <a:pt x="28" y="1"/>
                    <a:pt x="30" y="3"/>
                    <a:pt x="28" y="6"/>
                  </a:cubicBezTo>
                  <a:cubicBezTo>
                    <a:pt x="27" y="8"/>
                    <a:pt x="26" y="11"/>
                    <a:pt x="25" y="14"/>
                  </a:cubicBezTo>
                  <a:cubicBezTo>
                    <a:pt x="19" y="30"/>
                    <a:pt x="11" y="48"/>
                    <a:pt x="8" y="67"/>
                  </a:cubicBezTo>
                  <a:cubicBezTo>
                    <a:pt x="7" y="69"/>
                    <a:pt x="5" y="70"/>
                    <a:pt x="3" y="70"/>
                  </a:cubicBezTo>
                  <a:cubicBezTo>
                    <a:pt x="1" y="70"/>
                    <a:pt x="0" y="68"/>
                    <a:pt x="0" y="66"/>
                  </a:cubicBezTo>
                  <a:cubicBezTo>
                    <a:pt x="3" y="46"/>
                    <a:pt x="12" y="26"/>
                    <a:pt x="19" y="10"/>
                  </a:cubicBezTo>
                  <a:cubicBezTo>
                    <a:pt x="20" y="8"/>
                    <a:pt x="21" y="5"/>
                    <a:pt x="22" y="2"/>
                  </a:cubicBezTo>
                  <a:cubicBezTo>
                    <a:pt x="22" y="1"/>
                    <a:pt x="24" y="0"/>
                    <a:pt x="26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4" name="ïṣlîḋê">
              <a:extLst>
                <a:ext uri="{FF2B5EF4-FFF2-40B4-BE49-F238E27FC236}">
                  <a16:creationId xmlns="" xmlns:a16="http://schemas.microsoft.com/office/drawing/2014/main" id="{3A77AE30-EC1B-43B8-8F60-3F5F59A9D532}"/>
                </a:ext>
              </a:extLst>
            </p:cNvPr>
            <p:cNvSpPr/>
            <p:nvPr/>
          </p:nvSpPr>
          <p:spPr bwMode="auto">
            <a:xfrm>
              <a:off x="1144588" y="5114925"/>
              <a:ext cx="11112" cy="7938"/>
            </a:xfrm>
            <a:custGeom>
              <a:avLst/>
              <a:gdLst>
                <a:gd name="T0" fmla="*/ 5 w 30"/>
                <a:gd name="T1" fmla="*/ 0 h 21"/>
                <a:gd name="T2" fmla="*/ 29 w 30"/>
                <a:gd name="T3" fmla="*/ 13 h 21"/>
                <a:gd name="T4" fmla="*/ 27 w 30"/>
                <a:gd name="T5" fmla="*/ 20 h 21"/>
                <a:gd name="T6" fmla="*/ 26 w 30"/>
                <a:gd name="T7" fmla="*/ 20 h 21"/>
                <a:gd name="T8" fmla="*/ 22 w 30"/>
                <a:gd name="T9" fmla="*/ 17 h 21"/>
                <a:gd name="T10" fmla="*/ 5 w 30"/>
                <a:gd name="T11" fmla="*/ 9 h 21"/>
                <a:gd name="T12" fmla="*/ 0 w 30"/>
                <a:gd name="T13" fmla="*/ 4 h 21"/>
                <a:gd name="T14" fmla="*/ 5 w 30"/>
                <a:gd name="T15" fmla="*/ 0 h 21"/>
                <a:gd name="T16" fmla="*/ 5 w 3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1">
                  <a:moveTo>
                    <a:pt x="5" y="0"/>
                  </a:moveTo>
                  <a:cubicBezTo>
                    <a:pt x="16" y="0"/>
                    <a:pt x="24" y="5"/>
                    <a:pt x="29" y="13"/>
                  </a:cubicBezTo>
                  <a:cubicBezTo>
                    <a:pt x="29" y="16"/>
                    <a:pt x="29" y="18"/>
                    <a:pt x="27" y="20"/>
                  </a:cubicBezTo>
                  <a:lnTo>
                    <a:pt x="26" y="20"/>
                  </a:lnTo>
                  <a:cubicBezTo>
                    <a:pt x="24" y="20"/>
                    <a:pt x="22" y="18"/>
                    <a:pt x="22" y="17"/>
                  </a:cubicBezTo>
                  <a:cubicBezTo>
                    <a:pt x="18" y="12"/>
                    <a:pt x="12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lnTo>
                    <a:pt x="5" y="0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5" name="îṧḷïḑè">
              <a:extLst>
                <a:ext uri="{FF2B5EF4-FFF2-40B4-BE49-F238E27FC236}">
                  <a16:creationId xmlns="" xmlns:a16="http://schemas.microsoft.com/office/drawing/2014/main" id="{E27C2D9A-F4A3-4226-BAE7-FECE996BE813}"/>
                </a:ext>
              </a:extLst>
            </p:cNvPr>
            <p:cNvSpPr/>
            <p:nvPr/>
          </p:nvSpPr>
          <p:spPr bwMode="auto">
            <a:xfrm>
              <a:off x="1147763" y="5100638"/>
              <a:ext cx="7937" cy="7937"/>
            </a:xfrm>
            <a:custGeom>
              <a:avLst/>
              <a:gdLst>
                <a:gd name="T0" fmla="*/ 6 w 20"/>
                <a:gd name="T1" fmla="*/ 0 h 21"/>
                <a:gd name="T2" fmla="*/ 18 w 20"/>
                <a:gd name="T3" fmla="*/ 13 h 21"/>
                <a:gd name="T4" fmla="*/ 17 w 20"/>
                <a:gd name="T5" fmla="*/ 20 h 21"/>
                <a:gd name="T6" fmla="*/ 15 w 20"/>
                <a:gd name="T7" fmla="*/ 20 h 21"/>
                <a:gd name="T8" fmla="*/ 12 w 20"/>
                <a:gd name="T9" fmla="*/ 18 h 21"/>
                <a:gd name="T10" fmla="*/ 2 w 20"/>
                <a:gd name="T11" fmla="*/ 8 h 21"/>
                <a:gd name="T12" fmla="*/ 0 w 20"/>
                <a:gd name="T13" fmla="*/ 3 h 21"/>
                <a:gd name="T14" fmla="*/ 6 w 20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6" y="0"/>
                  </a:moveTo>
                  <a:cubicBezTo>
                    <a:pt x="10" y="3"/>
                    <a:pt x="15" y="8"/>
                    <a:pt x="18" y="13"/>
                  </a:cubicBezTo>
                  <a:cubicBezTo>
                    <a:pt x="19" y="14"/>
                    <a:pt x="19" y="17"/>
                    <a:pt x="17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4" y="20"/>
                    <a:pt x="13" y="20"/>
                    <a:pt x="12" y="18"/>
                  </a:cubicBezTo>
                  <a:cubicBezTo>
                    <a:pt x="9" y="14"/>
                    <a:pt x="6" y="11"/>
                    <a:pt x="2" y="8"/>
                  </a:cubicBezTo>
                  <a:cubicBezTo>
                    <a:pt x="0" y="7"/>
                    <a:pt x="0" y="4"/>
                    <a:pt x="0" y="3"/>
                  </a:cubicBezTo>
                  <a:cubicBezTo>
                    <a:pt x="1" y="0"/>
                    <a:pt x="4" y="0"/>
                    <a:pt x="6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6" name="ï$ľiḋê">
              <a:extLst>
                <a:ext uri="{FF2B5EF4-FFF2-40B4-BE49-F238E27FC236}">
                  <a16:creationId xmlns="" xmlns:a16="http://schemas.microsoft.com/office/drawing/2014/main" id="{47E0677E-4663-4736-8FE4-6C18B53727DD}"/>
                </a:ext>
              </a:extLst>
            </p:cNvPr>
            <p:cNvSpPr/>
            <p:nvPr/>
          </p:nvSpPr>
          <p:spPr bwMode="auto">
            <a:xfrm>
              <a:off x="1330325" y="5135563"/>
              <a:ext cx="11113" cy="19050"/>
            </a:xfrm>
            <a:custGeom>
              <a:avLst/>
              <a:gdLst>
                <a:gd name="T0" fmla="*/ 23 w 31"/>
                <a:gd name="T1" fmla="*/ 2 h 51"/>
                <a:gd name="T2" fmla="*/ 29 w 31"/>
                <a:gd name="T3" fmla="*/ 2 h 51"/>
                <a:gd name="T4" fmla="*/ 29 w 31"/>
                <a:gd name="T5" fmla="*/ 6 h 51"/>
                <a:gd name="T6" fmla="*/ 22 w 31"/>
                <a:gd name="T7" fmla="*/ 24 h 51"/>
                <a:gd name="T8" fmla="*/ 6 w 31"/>
                <a:gd name="T9" fmla="*/ 49 h 51"/>
                <a:gd name="T10" fmla="*/ 5 w 31"/>
                <a:gd name="T11" fmla="*/ 50 h 51"/>
                <a:gd name="T12" fmla="*/ 1 w 31"/>
                <a:gd name="T13" fmla="*/ 48 h 51"/>
                <a:gd name="T14" fmla="*/ 4 w 31"/>
                <a:gd name="T15" fmla="*/ 42 h 51"/>
                <a:gd name="T16" fmla="*/ 14 w 31"/>
                <a:gd name="T17" fmla="*/ 23 h 51"/>
                <a:gd name="T18" fmla="*/ 23 w 31"/>
                <a:gd name="T19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51">
                  <a:moveTo>
                    <a:pt x="23" y="2"/>
                  </a:moveTo>
                  <a:cubicBezTo>
                    <a:pt x="24" y="0"/>
                    <a:pt x="26" y="0"/>
                    <a:pt x="29" y="2"/>
                  </a:cubicBezTo>
                  <a:cubicBezTo>
                    <a:pt x="30" y="3"/>
                    <a:pt x="30" y="5"/>
                    <a:pt x="29" y="6"/>
                  </a:cubicBezTo>
                  <a:cubicBezTo>
                    <a:pt x="24" y="11"/>
                    <a:pt x="23" y="17"/>
                    <a:pt x="22" y="24"/>
                  </a:cubicBezTo>
                  <a:cubicBezTo>
                    <a:pt x="20" y="34"/>
                    <a:pt x="17" y="45"/>
                    <a:pt x="6" y="49"/>
                  </a:cubicBezTo>
                  <a:cubicBezTo>
                    <a:pt x="6" y="50"/>
                    <a:pt x="5" y="50"/>
                    <a:pt x="5" y="50"/>
                  </a:cubicBezTo>
                  <a:cubicBezTo>
                    <a:pt x="4" y="50"/>
                    <a:pt x="1" y="49"/>
                    <a:pt x="1" y="48"/>
                  </a:cubicBezTo>
                  <a:cubicBezTo>
                    <a:pt x="0" y="45"/>
                    <a:pt x="1" y="43"/>
                    <a:pt x="4" y="42"/>
                  </a:cubicBezTo>
                  <a:cubicBezTo>
                    <a:pt x="10" y="40"/>
                    <a:pt x="13" y="32"/>
                    <a:pt x="14" y="23"/>
                  </a:cubicBezTo>
                  <a:cubicBezTo>
                    <a:pt x="15" y="15"/>
                    <a:pt x="17" y="7"/>
                    <a:pt x="23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7" name="ïṩ1íḍè">
              <a:extLst>
                <a:ext uri="{FF2B5EF4-FFF2-40B4-BE49-F238E27FC236}">
                  <a16:creationId xmlns="" xmlns:a16="http://schemas.microsoft.com/office/drawing/2014/main" id="{642C297B-C00F-4052-BA75-3927AF73B251}"/>
                </a:ext>
              </a:extLst>
            </p:cNvPr>
            <p:cNvSpPr/>
            <p:nvPr/>
          </p:nvSpPr>
          <p:spPr bwMode="auto">
            <a:xfrm>
              <a:off x="1355725" y="5100638"/>
              <a:ext cx="7938" cy="12700"/>
            </a:xfrm>
            <a:custGeom>
              <a:avLst/>
              <a:gdLst>
                <a:gd name="T0" fmla="*/ 7 w 20"/>
                <a:gd name="T1" fmla="*/ 4 h 36"/>
                <a:gd name="T2" fmla="*/ 18 w 20"/>
                <a:gd name="T3" fmla="*/ 29 h 36"/>
                <a:gd name="T4" fmla="*/ 18 w 20"/>
                <a:gd name="T5" fmla="*/ 34 h 36"/>
                <a:gd name="T6" fmla="*/ 15 w 20"/>
                <a:gd name="T7" fmla="*/ 35 h 36"/>
                <a:gd name="T8" fmla="*/ 13 w 20"/>
                <a:gd name="T9" fmla="*/ 34 h 36"/>
                <a:gd name="T10" fmla="*/ 0 w 20"/>
                <a:gd name="T11" fmla="*/ 5 h 36"/>
                <a:gd name="T12" fmla="*/ 3 w 20"/>
                <a:gd name="T13" fmla="*/ 0 h 36"/>
                <a:gd name="T14" fmla="*/ 7 w 20"/>
                <a:gd name="T15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6">
                  <a:moveTo>
                    <a:pt x="7" y="4"/>
                  </a:moveTo>
                  <a:cubicBezTo>
                    <a:pt x="9" y="13"/>
                    <a:pt x="13" y="24"/>
                    <a:pt x="18" y="29"/>
                  </a:cubicBezTo>
                  <a:cubicBezTo>
                    <a:pt x="19" y="30"/>
                    <a:pt x="19" y="33"/>
                    <a:pt x="18" y="34"/>
                  </a:cubicBezTo>
                  <a:cubicBezTo>
                    <a:pt x="17" y="35"/>
                    <a:pt x="16" y="35"/>
                    <a:pt x="15" y="35"/>
                  </a:cubicBezTo>
                  <a:cubicBezTo>
                    <a:pt x="14" y="35"/>
                    <a:pt x="14" y="35"/>
                    <a:pt x="13" y="34"/>
                  </a:cubicBezTo>
                  <a:cubicBezTo>
                    <a:pt x="6" y="28"/>
                    <a:pt x="2" y="15"/>
                    <a:pt x="0" y="5"/>
                  </a:cubicBezTo>
                  <a:cubicBezTo>
                    <a:pt x="0" y="3"/>
                    <a:pt x="1" y="0"/>
                    <a:pt x="3" y="0"/>
                  </a:cubicBezTo>
                  <a:cubicBezTo>
                    <a:pt x="5" y="0"/>
                    <a:pt x="6" y="2"/>
                    <a:pt x="7" y="4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8" name="iṥḷidè">
              <a:extLst>
                <a:ext uri="{FF2B5EF4-FFF2-40B4-BE49-F238E27FC236}">
                  <a16:creationId xmlns="" xmlns:a16="http://schemas.microsoft.com/office/drawing/2014/main" id="{DB00C2E1-EECD-49E8-81C3-8DCB5CC42E72}"/>
                </a:ext>
              </a:extLst>
            </p:cNvPr>
            <p:cNvSpPr/>
            <p:nvPr/>
          </p:nvSpPr>
          <p:spPr bwMode="auto">
            <a:xfrm>
              <a:off x="1266825" y="5180013"/>
              <a:ext cx="12700" cy="11112"/>
            </a:xfrm>
            <a:custGeom>
              <a:avLst/>
              <a:gdLst>
                <a:gd name="T0" fmla="*/ 5 w 36"/>
                <a:gd name="T1" fmla="*/ 17 h 30"/>
                <a:gd name="T2" fmla="*/ 24 w 36"/>
                <a:gd name="T3" fmla="*/ 0 h 30"/>
                <a:gd name="T4" fmla="*/ 35 w 36"/>
                <a:gd name="T5" fmla="*/ 19 h 30"/>
                <a:gd name="T6" fmla="*/ 5 w 36"/>
                <a:gd name="T7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0">
                  <a:moveTo>
                    <a:pt x="5" y="17"/>
                  </a:moveTo>
                  <a:cubicBezTo>
                    <a:pt x="0" y="5"/>
                    <a:pt x="24" y="0"/>
                    <a:pt x="24" y="0"/>
                  </a:cubicBezTo>
                  <a:lnTo>
                    <a:pt x="35" y="19"/>
                  </a:lnTo>
                  <a:cubicBezTo>
                    <a:pt x="21" y="25"/>
                    <a:pt x="8" y="29"/>
                    <a:pt x="5" y="17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19" name="íŝľîḋê">
              <a:extLst>
                <a:ext uri="{FF2B5EF4-FFF2-40B4-BE49-F238E27FC236}">
                  <a16:creationId xmlns="" xmlns:a16="http://schemas.microsoft.com/office/drawing/2014/main" id="{9DA13378-1C0F-4388-94C9-7AB225ABC9A4}"/>
                </a:ext>
              </a:extLst>
            </p:cNvPr>
            <p:cNvSpPr/>
            <p:nvPr/>
          </p:nvSpPr>
          <p:spPr bwMode="auto">
            <a:xfrm>
              <a:off x="1263650" y="5176838"/>
              <a:ext cx="14288" cy="12700"/>
            </a:xfrm>
            <a:custGeom>
              <a:avLst/>
              <a:gdLst>
                <a:gd name="T0" fmla="*/ 17 w 41"/>
                <a:gd name="T1" fmla="*/ 27 h 36"/>
                <a:gd name="T2" fmla="*/ 30 w 41"/>
                <a:gd name="T3" fmla="*/ 24 h 36"/>
                <a:gd name="T4" fmla="*/ 24 w 41"/>
                <a:gd name="T5" fmla="*/ 10 h 36"/>
                <a:gd name="T6" fmla="*/ 9 w 41"/>
                <a:gd name="T7" fmla="*/ 18 h 36"/>
                <a:gd name="T8" fmla="*/ 9 w 41"/>
                <a:gd name="T9" fmla="*/ 22 h 36"/>
                <a:gd name="T10" fmla="*/ 17 w 41"/>
                <a:gd name="T11" fmla="*/ 27 h 36"/>
                <a:gd name="T12" fmla="*/ 30 w 41"/>
                <a:gd name="T13" fmla="*/ 4 h 36"/>
                <a:gd name="T14" fmla="*/ 40 w 41"/>
                <a:gd name="T15" fmla="*/ 25 h 36"/>
                <a:gd name="T16" fmla="*/ 40 w 41"/>
                <a:gd name="T17" fmla="*/ 27 h 36"/>
                <a:gd name="T18" fmla="*/ 37 w 41"/>
                <a:gd name="T19" fmla="*/ 29 h 36"/>
                <a:gd name="T20" fmla="*/ 17 w 41"/>
                <a:gd name="T21" fmla="*/ 35 h 36"/>
                <a:gd name="T22" fmla="*/ 1 w 41"/>
                <a:gd name="T23" fmla="*/ 25 h 36"/>
                <a:gd name="T24" fmla="*/ 2 w 41"/>
                <a:gd name="T25" fmla="*/ 14 h 36"/>
                <a:gd name="T26" fmla="*/ 25 w 41"/>
                <a:gd name="T27" fmla="*/ 2 h 36"/>
                <a:gd name="T28" fmla="*/ 30 w 41"/>
                <a:gd name="T2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36">
                  <a:moveTo>
                    <a:pt x="17" y="27"/>
                  </a:moveTo>
                  <a:cubicBezTo>
                    <a:pt x="20" y="27"/>
                    <a:pt x="25" y="26"/>
                    <a:pt x="30" y="24"/>
                  </a:cubicBezTo>
                  <a:lnTo>
                    <a:pt x="24" y="10"/>
                  </a:lnTo>
                  <a:cubicBezTo>
                    <a:pt x="19" y="11"/>
                    <a:pt x="12" y="14"/>
                    <a:pt x="9" y="18"/>
                  </a:cubicBezTo>
                  <a:cubicBezTo>
                    <a:pt x="8" y="19"/>
                    <a:pt x="8" y="20"/>
                    <a:pt x="9" y="22"/>
                  </a:cubicBezTo>
                  <a:cubicBezTo>
                    <a:pt x="11" y="26"/>
                    <a:pt x="13" y="27"/>
                    <a:pt x="17" y="27"/>
                  </a:cubicBezTo>
                  <a:close/>
                  <a:moveTo>
                    <a:pt x="30" y="4"/>
                  </a:moveTo>
                  <a:lnTo>
                    <a:pt x="40" y="25"/>
                  </a:lnTo>
                  <a:cubicBezTo>
                    <a:pt x="40" y="26"/>
                    <a:pt x="40" y="27"/>
                    <a:pt x="40" y="27"/>
                  </a:cubicBezTo>
                  <a:cubicBezTo>
                    <a:pt x="40" y="28"/>
                    <a:pt x="38" y="29"/>
                    <a:pt x="37" y="29"/>
                  </a:cubicBezTo>
                  <a:cubicBezTo>
                    <a:pt x="30" y="33"/>
                    <a:pt x="23" y="35"/>
                    <a:pt x="17" y="35"/>
                  </a:cubicBezTo>
                  <a:cubicBezTo>
                    <a:pt x="9" y="35"/>
                    <a:pt x="3" y="32"/>
                    <a:pt x="1" y="25"/>
                  </a:cubicBezTo>
                  <a:cubicBezTo>
                    <a:pt x="0" y="21"/>
                    <a:pt x="1" y="18"/>
                    <a:pt x="2" y="14"/>
                  </a:cubicBezTo>
                  <a:cubicBezTo>
                    <a:pt x="7" y="5"/>
                    <a:pt x="23" y="2"/>
                    <a:pt x="25" y="2"/>
                  </a:cubicBezTo>
                  <a:cubicBezTo>
                    <a:pt x="26" y="0"/>
                    <a:pt x="29" y="2"/>
                    <a:pt x="30" y="4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0" name="ï$liḓé">
              <a:extLst>
                <a:ext uri="{FF2B5EF4-FFF2-40B4-BE49-F238E27FC236}">
                  <a16:creationId xmlns="" xmlns:a16="http://schemas.microsoft.com/office/drawing/2014/main" id="{4DB5A0DB-A518-479B-93B2-D15A5836BDBC}"/>
                </a:ext>
              </a:extLst>
            </p:cNvPr>
            <p:cNvSpPr/>
            <p:nvPr/>
          </p:nvSpPr>
          <p:spPr bwMode="auto">
            <a:xfrm>
              <a:off x="622300" y="5010150"/>
              <a:ext cx="79375" cy="115888"/>
            </a:xfrm>
            <a:custGeom>
              <a:avLst/>
              <a:gdLst>
                <a:gd name="T0" fmla="*/ 98 w 221"/>
                <a:gd name="T1" fmla="*/ 30 h 323"/>
                <a:gd name="T2" fmla="*/ 129 w 221"/>
                <a:gd name="T3" fmla="*/ 0 h 323"/>
                <a:gd name="T4" fmla="*/ 220 w 221"/>
                <a:gd name="T5" fmla="*/ 65 h 323"/>
                <a:gd name="T6" fmla="*/ 181 w 221"/>
                <a:gd name="T7" fmla="*/ 104 h 323"/>
                <a:gd name="T8" fmla="*/ 174 w 221"/>
                <a:gd name="T9" fmla="*/ 135 h 323"/>
                <a:gd name="T10" fmla="*/ 115 w 221"/>
                <a:gd name="T11" fmla="*/ 262 h 323"/>
                <a:gd name="T12" fmla="*/ 80 w 221"/>
                <a:gd name="T13" fmla="*/ 273 h 323"/>
                <a:gd name="T14" fmla="*/ 17 w 221"/>
                <a:gd name="T15" fmla="*/ 322 h 323"/>
                <a:gd name="T16" fmla="*/ 9 w 221"/>
                <a:gd name="T17" fmla="*/ 73 h 323"/>
                <a:gd name="T18" fmla="*/ 98 w 221"/>
                <a:gd name="T19" fmla="*/ 3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323">
                  <a:moveTo>
                    <a:pt x="98" y="30"/>
                  </a:moveTo>
                  <a:cubicBezTo>
                    <a:pt x="102" y="27"/>
                    <a:pt x="129" y="0"/>
                    <a:pt x="129" y="0"/>
                  </a:cubicBezTo>
                  <a:lnTo>
                    <a:pt x="220" y="65"/>
                  </a:lnTo>
                  <a:lnTo>
                    <a:pt x="181" y="104"/>
                  </a:lnTo>
                  <a:cubicBezTo>
                    <a:pt x="181" y="104"/>
                    <a:pt x="181" y="116"/>
                    <a:pt x="174" y="135"/>
                  </a:cubicBezTo>
                  <a:cubicBezTo>
                    <a:pt x="167" y="154"/>
                    <a:pt x="126" y="252"/>
                    <a:pt x="115" y="262"/>
                  </a:cubicBezTo>
                  <a:cubicBezTo>
                    <a:pt x="105" y="273"/>
                    <a:pt x="80" y="273"/>
                    <a:pt x="80" y="273"/>
                  </a:cubicBezTo>
                  <a:cubicBezTo>
                    <a:pt x="65" y="298"/>
                    <a:pt x="17" y="322"/>
                    <a:pt x="17" y="322"/>
                  </a:cubicBezTo>
                  <a:cubicBezTo>
                    <a:pt x="17" y="322"/>
                    <a:pt x="0" y="79"/>
                    <a:pt x="9" y="73"/>
                  </a:cubicBezTo>
                  <a:cubicBezTo>
                    <a:pt x="16" y="67"/>
                    <a:pt x="94" y="33"/>
                    <a:pt x="98" y="30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1" name="î$1íďe">
              <a:extLst>
                <a:ext uri="{FF2B5EF4-FFF2-40B4-BE49-F238E27FC236}">
                  <a16:creationId xmlns="" xmlns:a16="http://schemas.microsoft.com/office/drawing/2014/main" id="{41E207FA-42E5-402D-BE29-81619431FC80}"/>
                </a:ext>
              </a:extLst>
            </p:cNvPr>
            <p:cNvSpPr/>
            <p:nvPr/>
          </p:nvSpPr>
          <p:spPr bwMode="auto">
            <a:xfrm>
              <a:off x="622300" y="5008563"/>
              <a:ext cx="79375" cy="117475"/>
            </a:xfrm>
            <a:custGeom>
              <a:avLst/>
              <a:gdLst>
                <a:gd name="T0" fmla="*/ 175 w 221"/>
                <a:gd name="T1" fmla="*/ 105 h 328"/>
                <a:gd name="T2" fmla="*/ 210 w 221"/>
                <a:gd name="T3" fmla="*/ 69 h 328"/>
                <a:gd name="T4" fmla="*/ 127 w 221"/>
                <a:gd name="T5" fmla="*/ 10 h 328"/>
                <a:gd name="T6" fmla="*/ 100 w 221"/>
                <a:gd name="T7" fmla="*/ 37 h 328"/>
                <a:gd name="T8" fmla="*/ 66 w 221"/>
                <a:gd name="T9" fmla="*/ 52 h 328"/>
                <a:gd name="T10" fmla="*/ 12 w 221"/>
                <a:gd name="T11" fmla="*/ 79 h 328"/>
                <a:gd name="T12" fmla="*/ 20 w 221"/>
                <a:gd name="T13" fmla="*/ 318 h 328"/>
                <a:gd name="T14" fmla="*/ 75 w 221"/>
                <a:gd name="T15" fmla="*/ 274 h 328"/>
                <a:gd name="T16" fmla="*/ 79 w 221"/>
                <a:gd name="T17" fmla="*/ 271 h 328"/>
                <a:gd name="T18" fmla="*/ 111 w 221"/>
                <a:gd name="T19" fmla="*/ 262 h 328"/>
                <a:gd name="T20" fmla="*/ 168 w 221"/>
                <a:gd name="T21" fmla="*/ 137 h 328"/>
                <a:gd name="T22" fmla="*/ 173 w 221"/>
                <a:gd name="T23" fmla="*/ 108 h 328"/>
                <a:gd name="T24" fmla="*/ 175 w 221"/>
                <a:gd name="T25" fmla="*/ 105 h 328"/>
                <a:gd name="T26" fmla="*/ 130 w 221"/>
                <a:gd name="T27" fmla="*/ 1 h 328"/>
                <a:gd name="T28" fmla="*/ 218 w 221"/>
                <a:gd name="T29" fmla="*/ 65 h 328"/>
                <a:gd name="T30" fmla="*/ 220 w 221"/>
                <a:gd name="T31" fmla="*/ 69 h 328"/>
                <a:gd name="T32" fmla="*/ 218 w 221"/>
                <a:gd name="T33" fmla="*/ 71 h 328"/>
                <a:gd name="T34" fmla="*/ 181 w 221"/>
                <a:gd name="T35" fmla="*/ 109 h 328"/>
                <a:gd name="T36" fmla="*/ 175 w 221"/>
                <a:gd name="T37" fmla="*/ 139 h 328"/>
                <a:gd name="T38" fmla="*/ 116 w 221"/>
                <a:gd name="T39" fmla="*/ 267 h 328"/>
                <a:gd name="T40" fmla="*/ 81 w 221"/>
                <a:gd name="T41" fmla="*/ 279 h 328"/>
                <a:gd name="T42" fmla="*/ 19 w 221"/>
                <a:gd name="T43" fmla="*/ 327 h 328"/>
                <a:gd name="T44" fmla="*/ 17 w 221"/>
                <a:gd name="T45" fmla="*/ 327 h 328"/>
                <a:gd name="T46" fmla="*/ 14 w 221"/>
                <a:gd name="T47" fmla="*/ 327 h 328"/>
                <a:gd name="T48" fmla="*/ 13 w 221"/>
                <a:gd name="T49" fmla="*/ 323 h 328"/>
                <a:gd name="T50" fmla="*/ 6 w 221"/>
                <a:gd name="T51" fmla="*/ 202 h 328"/>
                <a:gd name="T52" fmla="*/ 6 w 221"/>
                <a:gd name="T53" fmla="*/ 73 h 328"/>
                <a:gd name="T54" fmla="*/ 63 w 221"/>
                <a:gd name="T55" fmla="*/ 45 h 328"/>
                <a:gd name="T56" fmla="*/ 95 w 221"/>
                <a:gd name="T57" fmla="*/ 32 h 328"/>
                <a:gd name="T58" fmla="*/ 124 w 221"/>
                <a:gd name="T59" fmla="*/ 3 h 328"/>
                <a:gd name="T60" fmla="*/ 130 w 221"/>
                <a:gd name="T61" fmla="*/ 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1" h="328">
                  <a:moveTo>
                    <a:pt x="175" y="105"/>
                  </a:moveTo>
                  <a:lnTo>
                    <a:pt x="210" y="69"/>
                  </a:lnTo>
                  <a:lnTo>
                    <a:pt x="127" y="10"/>
                  </a:lnTo>
                  <a:cubicBezTo>
                    <a:pt x="120" y="16"/>
                    <a:pt x="102" y="35"/>
                    <a:pt x="100" y="37"/>
                  </a:cubicBezTo>
                  <a:cubicBezTo>
                    <a:pt x="97" y="38"/>
                    <a:pt x="89" y="43"/>
                    <a:pt x="66" y="52"/>
                  </a:cubicBezTo>
                  <a:cubicBezTo>
                    <a:pt x="45" y="63"/>
                    <a:pt x="18" y="76"/>
                    <a:pt x="12" y="79"/>
                  </a:cubicBezTo>
                  <a:cubicBezTo>
                    <a:pt x="7" y="93"/>
                    <a:pt x="14" y="228"/>
                    <a:pt x="20" y="318"/>
                  </a:cubicBezTo>
                  <a:cubicBezTo>
                    <a:pt x="33" y="311"/>
                    <a:pt x="64" y="292"/>
                    <a:pt x="75" y="274"/>
                  </a:cubicBezTo>
                  <a:cubicBezTo>
                    <a:pt x="77" y="272"/>
                    <a:pt x="78" y="271"/>
                    <a:pt x="79" y="271"/>
                  </a:cubicBezTo>
                  <a:cubicBezTo>
                    <a:pt x="79" y="271"/>
                    <a:pt x="101" y="271"/>
                    <a:pt x="111" y="262"/>
                  </a:cubicBezTo>
                  <a:cubicBezTo>
                    <a:pt x="120" y="252"/>
                    <a:pt x="160" y="159"/>
                    <a:pt x="168" y="137"/>
                  </a:cubicBezTo>
                  <a:cubicBezTo>
                    <a:pt x="173" y="120"/>
                    <a:pt x="173" y="108"/>
                    <a:pt x="173" y="108"/>
                  </a:cubicBezTo>
                  <a:cubicBezTo>
                    <a:pt x="173" y="107"/>
                    <a:pt x="175" y="106"/>
                    <a:pt x="175" y="105"/>
                  </a:cubicBezTo>
                  <a:close/>
                  <a:moveTo>
                    <a:pt x="130" y="1"/>
                  </a:moveTo>
                  <a:lnTo>
                    <a:pt x="218" y="65"/>
                  </a:lnTo>
                  <a:cubicBezTo>
                    <a:pt x="218" y="66"/>
                    <a:pt x="220" y="67"/>
                    <a:pt x="220" y="69"/>
                  </a:cubicBezTo>
                  <a:cubicBezTo>
                    <a:pt x="220" y="70"/>
                    <a:pt x="220" y="71"/>
                    <a:pt x="218" y="71"/>
                  </a:cubicBezTo>
                  <a:lnTo>
                    <a:pt x="181" y="109"/>
                  </a:lnTo>
                  <a:cubicBezTo>
                    <a:pt x="181" y="114"/>
                    <a:pt x="180" y="124"/>
                    <a:pt x="175" y="139"/>
                  </a:cubicBezTo>
                  <a:cubicBezTo>
                    <a:pt x="168" y="157"/>
                    <a:pt x="127" y="255"/>
                    <a:pt x="116" y="267"/>
                  </a:cubicBezTo>
                  <a:cubicBezTo>
                    <a:pt x="107" y="277"/>
                    <a:pt x="88" y="278"/>
                    <a:pt x="81" y="279"/>
                  </a:cubicBezTo>
                  <a:cubicBezTo>
                    <a:pt x="64" y="305"/>
                    <a:pt x="20" y="326"/>
                    <a:pt x="19" y="327"/>
                  </a:cubicBezTo>
                  <a:cubicBezTo>
                    <a:pt x="18" y="327"/>
                    <a:pt x="18" y="327"/>
                    <a:pt x="17" y="327"/>
                  </a:cubicBezTo>
                  <a:cubicBezTo>
                    <a:pt x="17" y="327"/>
                    <a:pt x="15" y="327"/>
                    <a:pt x="14" y="327"/>
                  </a:cubicBezTo>
                  <a:cubicBezTo>
                    <a:pt x="13" y="326"/>
                    <a:pt x="13" y="325"/>
                    <a:pt x="13" y="323"/>
                  </a:cubicBezTo>
                  <a:cubicBezTo>
                    <a:pt x="13" y="323"/>
                    <a:pt x="8" y="262"/>
                    <a:pt x="6" y="202"/>
                  </a:cubicBezTo>
                  <a:cubicBezTo>
                    <a:pt x="0" y="78"/>
                    <a:pt x="4" y="76"/>
                    <a:pt x="6" y="73"/>
                  </a:cubicBezTo>
                  <a:cubicBezTo>
                    <a:pt x="11" y="70"/>
                    <a:pt x="33" y="59"/>
                    <a:pt x="63" y="45"/>
                  </a:cubicBezTo>
                  <a:cubicBezTo>
                    <a:pt x="77" y="40"/>
                    <a:pt x="93" y="33"/>
                    <a:pt x="95" y="32"/>
                  </a:cubicBezTo>
                  <a:cubicBezTo>
                    <a:pt x="97" y="29"/>
                    <a:pt x="113" y="13"/>
                    <a:pt x="124" y="3"/>
                  </a:cubicBezTo>
                  <a:cubicBezTo>
                    <a:pt x="125" y="0"/>
                    <a:pt x="127" y="0"/>
                    <a:pt x="130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2" name="í$ľíḑè">
              <a:extLst>
                <a:ext uri="{FF2B5EF4-FFF2-40B4-BE49-F238E27FC236}">
                  <a16:creationId xmlns="" xmlns:a16="http://schemas.microsoft.com/office/drawing/2014/main" id="{A17DFB6B-D841-49EC-8347-CBE86CF36828}"/>
                </a:ext>
              </a:extLst>
            </p:cNvPr>
            <p:cNvSpPr/>
            <p:nvPr/>
          </p:nvSpPr>
          <p:spPr bwMode="auto">
            <a:xfrm>
              <a:off x="400050" y="5018088"/>
              <a:ext cx="76200" cy="106362"/>
            </a:xfrm>
            <a:custGeom>
              <a:avLst/>
              <a:gdLst>
                <a:gd name="T0" fmla="*/ 96 w 210"/>
                <a:gd name="T1" fmla="*/ 0 h 297"/>
                <a:gd name="T2" fmla="*/ 205 w 210"/>
                <a:gd name="T3" fmla="*/ 72 h 297"/>
                <a:gd name="T4" fmla="*/ 173 w 210"/>
                <a:gd name="T5" fmla="*/ 296 h 297"/>
                <a:gd name="T6" fmla="*/ 119 w 210"/>
                <a:gd name="T7" fmla="*/ 293 h 297"/>
                <a:gd name="T8" fmla="*/ 64 w 210"/>
                <a:gd name="T9" fmla="*/ 233 h 297"/>
                <a:gd name="T10" fmla="*/ 21 w 210"/>
                <a:gd name="T11" fmla="*/ 216 h 297"/>
                <a:gd name="T12" fmla="*/ 3 w 210"/>
                <a:gd name="T13" fmla="*/ 86 h 297"/>
                <a:gd name="T14" fmla="*/ 3 w 210"/>
                <a:gd name="T15" fmla="*/ 30 h 297"/>
                <a:gd name="T16" fmla="*/ 96 w 210"/>
                <a:gd name="T17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97">
                  <a:moveTo>
                    <a:pt x="96" y="0"/>
                  </a:moveTo>
                  <a:cubicBezTo>
                    <a:pt x="96" y="0"/>
                    <a:pt x="201" y="60"/>
                    <a:pt x="205" y="72"/>
                  </a:cubicBezTo>
                  <a:cubicBezTo>
                    <a:pt x="209" y="83"/>
                    <a:pt x="173" y="296"/>
                    <a:pt x="173" y="296"/>
                  </a:cubicBezTo>
                  <a:lnTo>
                    <a:pt x="119" y="293"/>
                  </a:lnTo>
                  <a:lnTo>
                    <a:pt x="64" y="233"/>
                  </a:lnTo>
                  <a:cubicBezTo>
                    <a:pt x="64" y="233"/>
                    <a:pt x="29" y="224"/>
                    <a:pt x="21" y="216"/>
                  </a:cubicBezTo>
                  <a:cubicBezTo>
                    <a:pt x="14" y="206"/>
                    <a:pt x="8" y="89"/>
                    <a:pt x="3" y="86"/>
                  </a:cubicBezTo>
                  <a:cubicBezTo>
                    <a:pt x="0" y="82"/>
                    <a:pt x="3" y="30"/>
                    <a:pt x="3" y="30"/>
                  </a:cubicBezTo>
                  <a:lnTo>
                    <a:pt x="96" y="0"/>
                  </a:ln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3" name="íṥ1ïḑé">
              <a:extLst>
                <a:ext uri="{FF2B5EF4-FFF2-40B4-BE49-F238E27FC236}">
                  <a16:creationId xmlns="" xmlns:a16="http://schemas.microsoft.com/office/drawing/2014/main" id="{95EBFC49-5CB5-4C05-AEDF-B1FE112D9BDB}"/>
                </a:ext>
              </a:extLst>
            </p:cNvPr>
            <p:cNvSpPr/>
            <p:nvPr/>
          </p:nvSpPr>
          <p:spPr bwMode="auto">
            <a:xfrm>
              <a:off x="400050" y="5014913"/>
              <a:ext cx="77788" cy="111125"/>
            </a:xfrm>
            <a:custGeom>
              <a:avLst/>
              <a:gdLst>
                <a:gd name="T0" fmla="*/ 171 w 215"/>
                <a:gd name="T1" fmla="*/ 299 h 307"/>
                <a:gd name="T2" fmla="*/ 202 w 215"/>
                <a:gd name="T3" fmla="*/ 78 h 307"/>
                <a:gd name="T4" fmla="*/ 97 w 215"/>
                <a:gd name="T5" fmla="*/ 8 h 307"/>
                <a:gd name="T6" fmla="*/ 10 w 215"/>
                <a:gd name="T7" fmla="*/ 37 h 307"/>
                <a:gd name="T8" fmla="*/ 10 w 215"/>
                <a:gd name="T9" fmla="*/ 89 h 307"/>
                <a:gd name="T10" fmla="*/ 17 w 215"/>
                <a:gd name="T11" fmla="*/ 139 h 307"/>
                <a:gd name="T12" fmla="*/ 27 w 215"/>
                <a:gd name="T13" fmla="*/ 218 h 307"/>
                <a:gd name="T14" fmla="*/ 68 w 215"/>
                <a:gd name="T15" fmla="*/ 236 h 307"/>
                <a:gd name="T16" fmla="*/ 69 w 215"/>
                <a:gd name="T17" fmla="*/ 237 h 307"/>
                <a:gd name="T18" fmla="*/ 123 w 215"/>
                <a:gd name="T19" fmla="*/ 297 h 307"/>
                <a:gd name="T20" fmla="*/ 171 w 215"/>
                <a:gd name="T21" fmla="*/ 299 h 307"/>
                <a:gd name="T22" fmla="*/ 100 w 215"/>
                <a:gd name="T23" fmla="*/ 1 h 307"/>
                <a:gd name="T24" fmla="*/ 209 w 215"/>
                <a:gd name="T25" fmla="*/ 76 h 307"/>
                <a:gd name="T26" fmla="*/ 178 w 215"/>
                <a:gd name="T27" fmla="*/ 302 h 307"/>
                <a:gd name="T28" fmla="*/ 174 w 215"/>
                <a:gd name="T29" fmla="*/ 306 h 307"/>
                <a:gd name="T30" fmla="*/ 121 w 215"/>
                <a:gd name="T31" fmla="*/ 305 h 307"/>
                <a:gd name="T32" fmla="*/ 119 w 215"/>
                <a:gd name="T33" fmla="*/ 304 h 307"/>
                <a:gd name="T34" fmla="*/ 64 w 215"/>
                <a:gd name="T35" fmla="*/ 243 h 307"/>
                <a:gd name="T36" fmla="*/ 22 w 215"/>
                <a:gd name="T37" fmla="*/ 224 h 307"/>
                <a:gd name="T38" fmla="*/ 9 w 215"/>
                <a:gd name="T39" fmla="*/ 139 h 307"/>
                <a:gd name="T40" fmla="*/ 4 w 215"/>
                <a:gd name="T41" fmla="*/ 93 h 307"/>
                <a:gd name="T42" fmla="*/ 3 w 215"/>
                <a:gd name="T43" fmla="*/ 34 h 307"/>
                <a:gd name="T44" fmla="*/ 5 w 215"/>
                <a:gd name="T45" fmla="*/ 31 h 307"/>
                <a:gd name="T46" fmla="*/ 97 w 215"/>
                <a:gd name="T47" fmla="*/ 0 h 307"/>
                <a:gd name="T48" fmla="*/ 100 w 215"/>
                <a:gd name="T49" fmla="*/ 1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" h="307">
                  <a:moveTo>
                    <a:pt x="171" y="299"/>
                  </a:moveTo>
                  <a:cubicBezTo>
                    <a:pt x="185" y="217"/>
                    <a:pt x="204" y="87"/>
                    <a:pt x="202" y="78"/>
                  </a:cubicBezTo>
                  <a:cubicBezTo>
                    <a:pt x="199" y="71"/>
                    <a:pt x="147" y="37"/>
                    <a:pt x="97" y="8"/>
                  </a:cubicBezTo>
                  <a:lnTo>
                    <a:pt x="10" y="37"/>
                  </a:lnTo>
                  <a:cubicBezTo>
                    <a:pt x="9" y="59"/>
                    <a:pt x="9" y="84"/>
                    <a:pt x="10" y="89"/>
                  </a:cubicBezTo>
                  <a:cubicBezTo>
                    <a:pt x="12" y="91"/>
                    <a:pt x="12" y="97"/>
                    <a:pt x="17" y="139"/>
                  </a:cubicBezTo>
                  <a:cubicBezTo>
                    <a:pt x="19" y="167"/>
                    <a:pt x="24" y="214"/>
                    <a:pt x="27" y="218"/>
                  </a:cubicBezTo>
                  <a:cubicBezTo>
                    <a:pt x="32" y="224"/>
                    <a:pt x="55" y="232"/>
                    <a:pt x="68" y="236"/>
                  </a:cubicBezTo>
                  <a:cubicBezTo>
                    <a:pt x="68" y="236"/>
                    <a:pt x="69" y="236"/>
                    <a:pt x="69" y="237"/>
                  </a:cubicBezTo>
                  <a:lnTo>
                    <a:pt x="123" y="297"/>
                  </a:lnTo>
                  <a:lnTo>
                    <a:pt x="171" y="299"/>
                  </a:lnTo>
                  <a:close/>
                  <a:moveTo>
                    <a:pt x="100" y="1"/>
                  </a:moveTo>
                  <a:cubicBezTo>
                    <a:pt x="125" y="15"/>
                    <a:pt x="206" y="63"/>
                    <a:pt x="209" y="76"/>
                  </a:cubicBezTo>
                  <a:cubicBezTo>
                    <a:pt x="214" y="87"/>
                    <a:pt x="184" y="267"/>
                    <a:pt x="178" y="302"/>
                  </a:cubicBezTo>
                  <a:cubicBezTo>
                    <a:pt x="178" y="305"/>
                    <a:pt x="175" y="306"/>
                    <a:pt x="174" y="306"/>
                  </a:cubicBezTo>
                  <a:lnTo>
                    <a:pt x="121" y="305"/>
                  </a:lnTo>
                  <a:cubicBezTo>
                    <a:pt x="120" y="305"/>
                    <a:pt x="119" y="304"/>
                    <a:pt x="119" y="304"/>
                  </a:cubicBezTo>
                  <a:lnTo>
                    <a:pt x="64" y="243"/>
                  </a:lnTo>
                  <a:cubicBezTo>
                    <a:pt x="58" y="240"/>
                    <a:pt x="30" y="232"/>
                    <a:pt x="22" y="224"/>
                  </a:cubicBezTo>
                  <a:cubicBezTo>
                    <a:pt x="17" y="218"/>
                    <a:pt x="14" y="195"/>
                    <a:pt x="9" y="139"/>
                  </a:cubicBezTo>
                  <a:cubicBezTo>
                    <a:pt x="7" y="120"/>
                    <a:pt x="5" y="98"/>
                    <a:pt x="4" y="93"/>
                  </a:cubicBezTo>
                  <a:cubicBezTo>
                    <a:pt x="2" y="91"/>
                    <a:pt x="0" y="83"/>
                    <a:pt x="3" y="34"/>
                  </a:cubicBezTo>
                  <a:cubicBezTo>
                    <a:pt x="3" y="32"/>
                    <a:pt x="4" y="31"/>
                    <a:pt x="5" y="31"/>
                  </a:cubicBezTo>
                  <a:lnTo>
                    <a:pt x="97" y="0"/>
                  </a:lnTo>
                  <a:cubicBezTo>
                    <a:pt x="98" y="0"/>
                    <a:pt x="99" y="0"/>
                    <a:pt x="100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4" name="iṣḷíḍê">
              <a:extLst>
                <a:ext uri="{FF2B5EF4-FFF2-40B4-BE49-F238E27FC236}">
                  <a16:creationId xmlns="" xmlns:a16="http://schemas.microsoft.com/office/drawing/2014/main" id="{8B67AD26-AC25-4808-BFFC-E044A06BADF5}"/>
                </a:ext>
              </a:extLst>
            </p:cNvPr>
            <p:cNvSpPr/>
            <p:nvPr/>
          </p:nvSpPr>
          <p:spPr bwMode="auto">
            <a:xfrm>
              <a:off x="454025" y="4984750"/>
              <a:ext cx="180975" cy="236538"/>
            </a:xfrm>
            <a:custGeom>
              <a:avLst/>
              <a:gdLst>
                <a:gd name="T0" fmla="*/ 0 w 502"/>
                <a:gd name="T1" fmla="*/ 32 h 655"/>
                <a:gd name="T2" fmla="*/ 476 w 502"/>
                <a:gd name="T3" fmla="*/ 0 h 655"/>
                <a:gd name="T4" fmla="*/ 501 w 502"/>
                <a:gd name="T5" fmla="*/ 508 h 655"/>
                <a:gd name="T6" fmla="*/ 36 w 502"/>
                <a:gd name="T7" fmla="*/ 654 h 655"/>
                <a:gd name="T8" fmla="*/ 0 w 502"/>
                <a:gd name="T9" fmla="*/ 32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2" h="655">
                  <a:moveTo>
                    <a:pt x="0" y="32"/>
                  </a:moveTo>
                  <a:cubicBezTo>
                    <a:pt x="0" y="32"/>
                    <a:pt x="418" y="2"/>
                    <a:pt x="476" y="0"/>
                  </a:cubicBezTo>
                  <a:lnTo>
                    <a:pt x="501" y="508"/>
                  </a:lnTo>
                  <a:cubicBezTo>
                    <a:pt x="501" y="508"/>
                    <a:pt x="126" y="654"/>
                    <a:pt x="36" y="654"/>
                  </a:cubicBezTo>
                  <a:lnTo>
                    <a:pt x="0" y="3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5" name="ï$ḻîdê">
              <a:extLst>
                <a:ext uri="{FF2B5EF4-FFF2-40B4-BE49-F238E27FC236}">
                  <a16:creationId xmlns="" xmlns:a16="http://schemas.microsoft.com/office/drawing/2014/main" id="{C764B51B-336C-4AC5-A0CB-60D3E58302BD}"/>
                </a:ext>
              </a:extLst>
            </p:cNvPr>
            <p:cNvSpPr/>
            <p:nvPr/>
          </p:nvSpPr>
          <p:spPr bwMode="auto">
            <a:xfrm>
              <a:off x="452438" y="4984750"/>
              <a:ext cx="184150" cy="239713"/>
            </a:xfrm>
            <a:custGeom>
              <a:avLst/>
              <a:gdLst>
                <a:gd name="T0" fmla="*/ 46 w 512"/>
                <a:gd name="T1" fmla="*/ 657 h 665"/>
                <a:gd name="T2" fmla="*/ 503 w 512"/>
                <a:gd name="T3" fmla="*/ 511 h 665"/>
                <a:gd name="T4" fmla="*/ 477 w 512"/>
                <a:gd name="T5" fmla="*/ 8 h 665"/>
                <a:gd name="T6" fmla="*/ 8 w 512"/>
                <a:gd name="T7" fmla="*/ 40 h 665"/>
                <a:gd name="T8" fmla="*/ 46 w 512"/>
                <a:gd name="T9" fmla="*/ 657 h 665"/>
                <a:gd name="T10" fmla="*/ 481 w 512"/>
                <a:gd name="T11" fmla="*/ 0 h 665"/>
                <a:gd name="T12" fmla="*/ 486 w 512"/>
                <a:gd name="T13" fmla="*/ 4 h 665"/>
                <a:gd name="T14" fmla="*/ 511 w 512"/>
                <a:gd name="T15" fmla="*/ 514 h 665"/>
                <a:gd name="T16" fmla="*/ 509 w 512"/>
                <a:gd name="T17" fmla="*/ 518 h 665"/>
                <a:gd name="T18" fmla="*/ 41 w 512"/>
                <a:gd name="T19" fmla="*/ 664 h 665"/>
                <a:gd name="T20" fmla="*/ 38 w 512"/>
                <a:gd name="T21" fmla="*/ 661 h 665"/>
                <a:gd name="T22" fmla="*/ 0 w 512"/>
                <a:gd name="T23" fmla="*/ 37 h 665"/>
                <a:gd name="T24" fmla="*/ 5 w 512"/>
                <a:gd name="T25" fmla="*/ 33 h 665"/>
                <a:gd name="T26" fmla="*/ 481 w 512"/>
                <a:gd name="T2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665">
                  <a:moveTo>
                    <a:pt x="46" y="657"/>
                  </a:moveTo>
                  <a:cubicBezTo>
                    <a:pt x="134" y="653"/>
                    <a:pt x="469" y="525"/>
                    <a:pt x="503" y="511"/>
                  </a:cubicBezTo>
                  <a:lnTo>
                    <a:pt x="477" y="8"/>
                  </a:lnTo>
                  <a:cubicBezTo>
                    <a:pt x="411" y="11"/>
                    <a:pt x="50" y="38"/>
                    <a:pt x="8" y="40"/>
                  </a:cubicBezTo>
                  <a:lnTo>
                    <a:pt x="46" y="657"/>
                  </a:lnTo>
                  <a:close/>
                  <a:moveTo>
                    <a:pt x="481" y="0"/>
                  </a:moveTo>
                  <a:cubicBezTo>
                    <a:pt x="483" y="0"/>
                    <a:pt x="486" y="2"/>
                    <a:pt x="486" y="4"/>
                  </a:cubicBezTo>
                  <a:lnTo>
                    <a:pt x="511" y="514"/>
                  </a:lnTo>
                  <a:cubicBezTo>
                    <a:pt x="511" y="516"/>
                    <a:pt x="510" y="517"/>
                    <a:pt x="509" y="518"/>
                  </a:cubicBezTo>
                  <a:cubicBezTo>
                    <a:pt x="493" y="524"/>
                    <a:pt x="131" y="664"/>
                    <a:pt x="41" y="664"/>
                  </a:cubicBezTo>
                  <a:cubicBezTo>
                    <a:pt x="40" y="664"/>
                    <a:pt x="38" y="663"/>
                    <a:pt x="38" y="661"/>
                  </a:cubicBezTo>
                  <a:lnTo>
                    <a:pt x="0" y="37"/>
                  </a:lnTo>
                  <a:cubicBezTo>
                    <a:pt x="0" y="36"/>
                    <a:pt x="3" y="33"/>
                    <a:pt x="5" y="33"/>
                  </a:cubicBezTo>
                  <a:cubicBezTo>
                    <a:pt x="8" y="33"/>
                    <a:pt x="424" y="3"/>
                    <a:pt x="481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6" name="îṧḷîďè">
              <a:extLst>
                <a:ext uri="{FF2B5EF4-FFF2-40B4-BE49-F238E27FC236}">
                  <a16:creationId xmlns="" xmlns:a16="http://schemas.microsoft.com/office/drawing/2014/main" id="{018016D3-790B-4B98-B116-52D45A93D505}"/>
                </a:ext>
              </a:extLst>
            </p:cNvPr>
            <p:cNvSpPr/>
            <p:nvPr/>
          </p:nvSpPr>
          <p:spPr bwMode="auto">
            <a:xfrm>
              <a:off x="447675" y="4984750"/>
              <a:ext cx="190500" cy="215900"/>
            </a:xfrm>
            <a:custGeom>
              <a:avLst/>
              <a:gdLst>
                <a:gd name="T0" fmla="*/ 0 w 527"/>
                <a:gd name="T1" fmla="*/ 587 h 599"/>
                <a:gd name="T2" fmla="*/ 57 w 527"/>
                <a:gd name="T3" fmla="*/ 0 h 599"/>
                <a:gd name="T4" fmla="*/ 526 w 527"/>
                <a:gd name="T5" fmla="*/ 33 h 599"/>
                <a:gd name="T6" fmla="*/ 480 w 527"/>
                <a:gd name="T7" fmla="*/ 504 h 599"/>
                <a:gd name="T8" fmla="*/ 0 w 527"/>
                <a:gd name="T9" fmla="*/ 587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7" h="599">
                  <a:moveTo>
                    <a:pt x="0" y="587"/>
                  </a:moveTo>
                  <a:lnTo>
                    <a:pt x="57" y="0"/>
                  </a:lnTo>
                  <a:cubicBezTo>
                    <a:pt x="57" y="0"/>
                    <a:pt x="511" y="33"/>
                    <a:pt x="526" y="33"/>
                  </a:cubicBezTo>
                  <a:cubicBezTo>
                    <a:pt x="526" y="33"/>
                    <a:pt x="480" y="483"/>
                    <a:pt x="480" y="504"/>
                  </a:cubicBezTo>
                  <a:cubicBezTo>
                    <a:pt x="480" y="504"/>
                    <a:pt x="52" y="598"/>
                    <a:pt x="0" y="58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7" name="íṣḷîḓê">
              <a:extLst>
                <a:ext uri="{FF2B5EF4-FFF2-40B4-BE49-F238E27FC236}">
                  <a16:creationId xmlns="" xmlns:a16="http://schemas.microsoft.com/office/drawing/2014/main" id="{C46242DD-AA3D-43D6-9D2D-5852F4FE2971}"/>
                </a:ext>
              </a:extLst>
            </p:cNvPr>
            <p:cNvSpPr/>
            <p:nvPr/>
          </p:nvSpPr>
          <p:spPr bwMode="auto">
            <a:xfrm>
              <a:off x="446088" y="4983163"/>
              <a:ext cx="193675" cy="215900"/>
            </a:xfrm>
            <a:custGeom>
              <a:avLst/>
              <a:gdLst>
                <a:gd name="T0" fmla="*/ 481 w 537"/>
                <a:gd name="T1" fmla="*/ 506 h 599"/>
                <a:gd name="T2" fmla="*/ 527 w 537"/>
                <a:gd name="T3" fmla="*/ 40 h 599"/>
                <a:gd name="T4" fmla="*/ 65 w 537"/>
                <a:gd name="T5" fmla="*/ 8 h 599"/>
                <a:gd name="T6" fmla="*/ 8 w 537"/>
                <a:gd name="T7" fmla="*/ 589 h 599"/>
                <a:gd name="T8" fmla="*/ 15 w 537"/>
                <a:gd name="T9" fmla="*/ 589 h 599"/>
                <a:gd name="T10" fmla="*/ 481 w 537"/>
                <a:gd name="T11" fmla="*/ 506 h 599"/>
                <a:gd name="T12" fmla="*/ 532 w 537"/>
                <a:gd name="T13" fmla="*/ 33 h 599"/>
                <a:gd name="T14" fmla="*/ 535 w 537"/>
                <a:gd name="T15" fmla="*/ 34 h 599"/>
                <a:gd name="T16" fmla="*/ 535 w 537"/>
                <a:gd name="T17" fmla="*/ 37 h 599"/>
                <a:gd name="T18" fmla="*/ 489 w 537"/>
                <a:gd name="T19" fmla="*/ 509 h 599"/>
                <a:gd name="T20" fmla="*/ 485 w 537"/>
                <a:gd name="T21" fmla="*/ 513 h 599"/>
                <a:gd name="T22" fmla="*/ 15 w 537"/>
                <a:gd name="T23" fmla="*/ 598 h 599"/>
                <a:gd name="T24" fmla="*/ 3 w 537"/>
                <a:gd name="T25" fmla="*/ 596 h 599"/>
                <a:gd name="T26" fmla="*/ 0 w 537"/>
                <a:gd name="T27" fmla="*/ 593 h 599"/>
                <a:gd name="T28" fmla="*/ 58 w 537"/>
                <a:gd name="T29" fmla="*/ 3 h 599"/>
                <a:gd name="T30" fmla="*/ 62 w 537"/>
                <a:gd name="T31" fmla="*/ 0 h 599"/>
                <a:gd name="T32" fmla="*/ 532 w 537"/>
                <a:gd name="T33" fmla="*/ 33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7" h="599">
                  <a:moveTo>
                    <a:pt x="481" y="506"/>
                  </a:moveTo>
                  <a:cubicBezTo>
                    <a:pt x="484" y="463"/>
                    <a:pt x="522" y="87"/>
                    <a:pt x="527" y="40"/>
                  </a:cubicBezTo>
                  <a:cubicBezTo>
                    <a:pt x="481" y="38"/>
                    <a:pt x="110" y="11"/>
                    <a:pt x="65" y="8"/>
                  </a:cubicBezTo>
                  <a:lnTo>
                    <a:pt x="8" y="589"/>
                  </a:lnTo>
                  <a:cubicBezTo>
                    <a:pt x="10" y="589"/>
                    <a:pt x="12" y="589"/>
                    <a:pt x="15" y="589"/>
                  </a:cubicBezTo>
                  <a:cubicBezTo>
                    <a:pt x="95" y="589"/>
                    <a:pt x="445" y="514"/>
                    <a:pt x="481" y="506"/>
                  </a:cubicBezTo>
                  <a:close/>
                  <a:moveTo>
                    <a:pt x="532" y="33"/>
                  </a:moveTo>
                  <a:cubicBezTo>
                    <a:pt x="533" y="33"/>
                    <a:pt x="534" y="33"/>
                    <a:pt x="535" y="34"/>
                  </a:cubicBezTo>
                  <a:cubicBezTo>
                    <a:pt x="535" y="34"/>
                    <a:pt x="536" y="36"/>
                    <a:pt x="535" y="37"/>
                  </a:cubicBezTo>
                  <a:cubicBezTo>
                    <a:pt x="535" y="41"/>
                    <a:pt x="489" y="488"/>
                    <a:pt x="489" y="509"/>
                  </a:cubicBezTo>
                  <a:cubicBezTo>
                    <a:pt x="489" y="510"/>
                    <a:pt x="488" y="513"/>
                    <a:pt x="485" y="513"/>
                  </a:cubicBezTo>
                  <a:cubicBezTo>
                    <a:pt x="470" y="516"/>
                    <a:pt x="99" y="598"/>
                    <a:pt x="15" y="598"/>
                  </a:cubicBezTo>
                  <a:cubicBezTo>
                    <a:pt x="10" y="598"/>
                    <a:pt x="6" y="598"/>
                    <a:pt x="3" y="596"/>
                  </a:cubicBezTo>
                  <a:cubicBezTo>
                    <a:pt x="1" y="596"/>
                    <a:pt x="0" y="594"/>
                    <a:pt x="0" y="593"/>
                  </a:cubicBezTo>
                  <a:lnTo>
                    <a:pt x="58" y="3"/>
                  </a:lnTo>
                  <a:cubicBezTo>
                    <a:pt x="58" y="1"/>
                    <a:pt x="60" y="0"/>
                    <a:pt x="62" y="0"/>
                  </a:cubicBezTo>
                  <a:cubicBezTo>
                    <a:pt x="67" y="0"/>
                    <a:pt x="517" y="33"/>
                    <a:pt x="532" y="33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8" name="ïṧ1idé">
              <a:extLst>
                <a:ext uri="{FF2B5EF4-FFF2-40B4-BE49-F238E27FC236}">
                  <a16:creationId xmlns="" xmlns:a16="http://schemas.microsoft.com/office/drawing/2014/main" id="{CC2EA620-CA23-4D00-A0F1-448DA7DC55F7}"/>
                </a:ext>
              </a:extLst>
            </p:cNvPr>
            <p:cNvSpPr/>
            <p:nvPr/>
          </p:nvSpPr>
          <p:spPr bwMode="auto">
            <a:xfrm>
              <a:off x="384175" y="5000625"/>
              <a:ext cx="57150" cy="33338"/>
            </a:xfrm>
            <a:custGeom>
              <a:avLst/>
              <a:gdLst>
                <a:gd name="T0" fmla="*/ 15 w 158"/>
                <a:gd name="T1" fmla="*/ 74 h 92"/>
                <a:gd name="T2" fmla="*/ 142 w 158"/>
                <a:gd name="T3" fmla="*/ 0 h 92"/>
                <a:gd name="T4" fmla="*/ 157 w 158"/>
                <a:gd name="T5" fmla="*/ 32 h 92"/>
                <a:gd name="T6" fmla="*/ 23 w 158"/>
                <a:gd name="T7" fmla="*/ 91 h 92"/>
                <a:gd name="T8" fmla="*/ 15 w 158"/>
                <a:gd name="T9" fmla="*/ 7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92">
                  <a:moveTo>
                    <a:pt x="15" y="74"/>
                  </a:moveTo>
                  <a:cubicBezTo>
                    <a:pt x="0" y="38"/>
                    <a:pt x="142" y="0"/>
                    <a:pt x="142" y="0"/>
                  </a:cubicBezTo>
                  <a:lnTo>
                    <a:pt x="157" y="32"/>
                  </a:lnTo>
                  <a:cubicBezTo>
                    <a:pt x="153" y="41"/>
                    <a:pt x="23" y="91"/>
                    <a:pt x="23" y="91"/>
                  </a:cubicBezTo>
                  <a:lnTo>
                    <a:pt x="15" y="7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29" name="îšļîde">
              <a:extLst>
                <a:ext uri="{FF2B5EF4-FFF2-40B4-BE49-F238E27FC236}">
                  <a16:creationId xmlns="" xmlns:a16="http://schemas.microsoft.com/office/drawing/2014/main" id="{9135291E-C339-4E4E-8A13-6C3AF991008C}"/>
                </a:ext>
              </a:extLst>
            </p:cNvPr>
            <p:cNvSpPr/>
            <p:nvPr/>
          </p:nvSpPr>
          <p:spPr bwMode="auto">
            <a:xfrm>
              <a:off x="388938" y="4999038"/>
              <a:ext cx="55562" cy="34925"/>
            </a:xfrm>
            <a:custGeom>
              <a:avLst/>
              <a:gdLst>
                <a:gd name="T0" fmla="*/ 16 w 153"/>
                <a:gd name="T1" fmla="*/ 88 h 97"/>
                <a:gd name="T2" fmla="*/ 143 w 153"/>
                <a:gd name="T3" fmla="*/ 34 h 97"/>
                <a:gd name="T4" fmla="*/ 131 w 153"/>
                <a:gd name="T5" fmla="*/ 8 h 97"/>
                <a:gd name="T6" fmla="*/ 10 w 153"/>
                <a:gd name="T7" fmla="*/ 66 h 97"/>
                <a:gd name="T8" fmla="*/ 9 w 153"/>
                <a:gd name="T9" fmla="*/ 75 h 97"/>
                <a:gd name="T10" fmla="*/ 16 w 153"/>
                <a:gd name="T11" fmla="*/ 88 h 97"/>
                <a:gd name="T12" fmla="*/ 136 w 153"/>
                <a:gd name="T13" fmla="*/ 2 h 97"/>
                <a:gd name="T14" fmla="*/ 151 w 153"/>
                <a:gd name="T15" fmla="*/ 33 h 97"/>
                <a:gd name="T16" fmla="*/ 151 w 153"/>
                <a:gd name="T17" fmla="*/ 37 h 97"/>
                <a:gd name="T18" fmla="*/ 15 w 153"/>
                <a:gd name="T19" fmla="*/ 96 h 97"/>
                <a:gd name="T20" fmla="*/ 14 w 153"/>
                <a:gd name="T21" fmla="*/ 96 h 97"/>
                <a:gd name="T22" fmla="*/ 10 w 153"/>
                <a:gd name="T23" fmla="*/ 93 h 97"/>
                <a:gd name="T24" fmla="*/ 2 w 153"/>
                <a:gd name="T25" fmla="*/ 78 h 97"/>
                <a:gd name="T26" fmla="*/ 3 w 153"/>
                <a:gd name="T27" fmla="*/ 62 h 97"/>
                <a:gd name="T28" fmla="*/ 132 w 153"/>
                <a:gd name="T29" fmla="*/ 0 h 97"/>
                <a:gd name="T30" fmla="*/ 136 w 153"/>
                <a:gd name="T31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97">
                  <a:moveTo>
                    <a:pt x="16" y="88"/>
                  </a:moveTo>
                  <a:cubicBezTo>
                    <a:pt x="72" y="67"/>
                    <a:pt x="132" y="41"/>
                    <a:pt x="143" y="34"/>
                  </a:cubicBezTo>
                  <a:lnTo>
                    <a:pt x="131" y="8"/>
                  </a:lnTo>
                  <a:cubicBezTo>
                    <a:pt x="99" y="17"/>
                    <a:pt x="22" y="41"/>
                    <a:pt x="10" y="66"/>
                  </a:cubicBezTo>
                  <a:cubicBezTo>
                    <a:pt x="8" y="69"/>
                    <a:pt x="8" y="71"/>
                    <a:pt x="9" y="75"/>
                  </a:cubicBezTo>
                  <a:lnTo>
                    <a:pt x="16" y="88"/>
                  </a:lnTo>
                  <a:close/>
                  <a:moveTo>
                    <a:pt x="136" y="2"/>
                  </a:moveTo>
                  <a:lnTo>
                    <a:pt x="151" y="33"/>
                  </a:lnTo>
                  <a:cubicBezTo>
                    <a:pt x="152" y="34"/>
                    <a:pt x="152" y="36"/>
                    <a:pt x="151" y="37"/>
                  </a:cubicBezTo>
                  <a:cubicBezTo>
                    <a:pt x="147" y="46"/>
                    <a:pt x="54" y="81"/>
                    <a:pt x="15" y="96"/>
                  </a:cubicBezTo>
                  <a:lnTo>
                    <a:pt x="14" y="96"/>
                  </a:lnTo>
                  <a:cubicBezTo>
                    <a:pt x="13" y="96"/>
                    <a:pt x="10" y="96"/>
                    <a:pt x="10" y="93"/>
                  </a:cubicBezTo>
                  <a:lnTo>
                    <a:pt x="2" y="78"/>
                  </a:lnTo>
                  <a:cubicBezTo>
                    <a:pt x="0" y="73"/>
                    <a:pt x="0" y="67"/>
                    <a:pt x="3" y="62"/>
                  </a:cubicBezTo>
                  <a:cubicBezTo>
                    <a:pt x="19" y="29"/>
                    <a:pt x="127" y="1"/>
                    <a:pt x="132" y="0"/>
                  </a:cubicBezTo>
                  <a:cubicBezTo>
                    <a:pt x="133" y="0"/>
                    <a:pt x="135" y="0"/>
                    <a:pt x="136" y="2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0" name="ïsḷiḑé">
              <a:extLst>
                <a:ext uri="{FF2B5EF4-FFF2-40B4-BE49-F238E27FC236}">
                  <a16:creationId xmlns="" xmlns:a16="http://schemas.microsoft.com/office/drawing/2014/main" id="{4E786A32-6CE3-4FC2-80B8-8F83AEF12487}"/>
                </a:ext>
              </a:extLst>
            </p:cNvPr>
            <p:cNvSpPr/>
            <p:nvPr/>
          </p:nvSpPr>
          <p:spPr bwMode="auto">
            <a:xfrm>
              <a:off x="657225" y="4999038"/>
              <a:ext cx="57150" cy="44450"/>
            </a:xfrm>
            <a:custGeom>
              <a:avLst/>
              <a:gdLst>
                <a:gd name="T0" fmla="*/ 0 w 158"/>
                <a:gd name="T1" fmla="*/ 17 h 122"/>
                <a:gd name="T2" fmla="*/ 17 w 158"/>
                <a:gd name="T3" fmla="*/ 0 h 122"/>
                <a:gd name="T4" fmla="*/ 157 w 158"/>
                <a:gd name="T5" fmla="*/ 87 h 122"/>
                <a:gd name="T6" fmla="*/ 136 w 158"/>
                <a:gd name="T7" fmla="*/ 121 h 122"/>
                <a:gd name="T8" fmla="*/ 0 w 158"/>
                <a:gd name="T9" fmla="*/ 1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22">
                  <a:moveTo>
                    <a:pt x="0" y="17"/>
                  </a:moveTo>
                  <a:lnTo>
                    <a:pt x="17" y="0"/>
                  </a:lnTo>
                  <a:lnTo>
                    <a:pt x="157" y="87"/>
                  </a:lnTo>
                  <a:lnTo>
                    <a:pt x="136" y="121"/>
                  </a:lnTo>
                  <a:lnTo>
                    <a:pt x="0" y="1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1" name="íŝ1íďê">
              <a:extLst>
                <a:ext uri="{FF2B5EF4-FFF2-40B4-BE49-F238E27FC236}">
                  <a16:creationId xmlns="" xmlns:a16="http://schemas.microsoft.com/office/drawing/2014/main" id="{074B0FD7-F785-4974-9AD2-67732485410F}"/>
                </a:ext>
              </a:extLst>
            </p:cNvPr>
            <p:cNvSpPr/>
            <p:nvPr/>
          </p:nvSpPr>
          <p:spPr bwMode="auto">
            <a:xfrm>
              <a:off x="655638" y="4997450"/>
              <a:ext cx="60325" cy="46038"/>
            </a:xfrm>
            <a:custGeom>
              <a:avLst/>
              <a:gdLst>
                <a:gd name="T0" fmla="*/ 140 w 168"/>
                <a:gd name="T1" fmla="*/ 117 h 127"/>
                <a:gd name="T2" fmla="*/ 157 w 168"/>
                <a:gd name="T3" fmla="*/ 90 h 127"/>
                <a:gd name="T4" fmla="*/ 23 w 168"/>
                <a:gd name="T5" fmla="*/ 9 h 127"/>
                <a:gd name="T6" fmla="*/ 10 w 168"/>
                <a:gd name="T7" fmla="*/ 21 h 127"/>
                <a:gd name="T8" fmla="*/ 140 w 168"/>
                <a:gd name="T9" fmla="*/ 117 h 127"/>
                <a:gd name="T10" fmla="*/ 165 w 168"/>
                <a:gd name="T11" fmla="*/ 85 h 127"/>
                <a:gd name="T12" fmla="*/ 166 w 168"/>
                <a:gd name="T13" fmla="*/ 91 h 127"/>
                <a:gd name="T14" fmla="*/ 145 w 168"/>
                <a:gd name="T15" fmla="*/ 124 h 127"/>
                <a:gd name="T16" fmla="*/ 142 w 168"/>
                <a:gd name="T17" fmla="*/ 126 h 127"/>
                <a:gd name="T18" fmla="*/ 139 w 168"/>
                <a:gd name="T19" fmla="*/ 125 h 127"/>
                <a:gd name="T20" fmla="*/ 2 w 168"/>
                <a:gd name="T21" fmla="*/ 25 h 127"/>
                <a:gd name="T22" fmla="*/ 0 w 168"/>
                <a:gd name="T23" fmla="*/ 22 h 127"/>
                <a:gd name="T24" fmla="*/ 1 w 168"/>
                <a:gd name="T25" fmla="*/ 19 h 127"/>
                <a:gd name="T26" fmla="*/ 20 w 168"/>
                <a:gd name="T27" fmla="*/ 1 h 127"/>
                <a:gd name="T28" fmla="*/ 24 w 168"/>
                <a:gd name="T29" fmla="*/ 1 h 127"/>
                <a:gd name="T30" fmla="*/ 165 w 168"/>
                <a:gd name="T31" fmla="*/ 8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8" h="127">
                  <a:moveTo>
                    <a:pt x="140" y="117"/>
                  </a:moveTo>
                  <a:lnTo>
                    <a:pt x="157" y="90"/>
                  </a:lnTo>
                  <a:lnTo>
                    <a:pt x="23" y="9"/>
                  </a:lnTo>
                  <a:lnTo>
                    <a:pt x="10" y="21"/>
                  </a:lnTo>
                  <a:lnTo>
                    <a:pt x="140" y="117"/>
                  </a:lnTo>
                  <a:close/>
                  <a:moveTo>
                    <a:pt x="165" y="85"/>
                  </a:moveTo>
                  <a:cubicBezTo>
                    <a:pt x="166" y="86"/>
                    <a:pt x="167" y="89"/>
                    <a:pt x="166" y="91"/>
                  </a:cubicBezTo>
                  <a:lnTo>
                    <a:pt x="145" y="124"/>
                  </a:lnTo>
                  <a:cubicBezTo>
                    <a:pt x="144" y="125"/>
                    <a:pt x="143" y="126"/>
                    <a:pt x="142" y="126"/>
                  </a:cubicBezTo>
                  <a:cubicBezTo>
                    <a:pt x="141" y="126"/>
                    <a:pt x="139" y="126"/>
                    <a:pt x="139" y="125"/>
                  </a:cubicBezTo>
                  <a:lnTo>
                    <a:pt x="2" y="25"/>
                  </a:lnTo>
                  <a:cubicBezTo>
                    <a:pt x="1" y="25"/>
                    <a:pt x="0" y="24"/>
                    <a:pt x="0" y="22"/>
                  </a:cubicBezTo>
                  <a:cubicBezTo>
                    <a:pt x="0" y="21"/>
                    <a:pt x="0" y="20"/>
                    <a:pt x="1" y="19"/>
                  </a:cubicBezTo>
                  <a:lnTo>
                    <a:pt x="20" y="1"/>
                  </a:lnTo>
                  <a:cubicBezTo>
                    <a:pt x="21" y="0"/>
                    <a:pt x="23" y="0"/>
                    <a:pt x="24" y="1"/>
                  </a:cubicBezTo>
                  <a:lnTo>
                    <a:pt x="165" y="85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2" name="îšļïḓê">
              <a:extLst>
                <a:ext uri="{FF2B5EF4-FFF2-40B4-BE49-F238E27FC236}">
                  <a16:creationId xmlns="" xmlns:a16="http://schemas.microsoft.com/office/drawing/2014/main" id="{79342704-44D9-4BB4-91B4-44E4A7B4C2A7}"/>
                </a:ext>
              </a:extLst>
            </p:cNvPr>
            <p:cNvSpPr/>
            <p:nvPr/>
          </p:nvSpPr>
          <p:spPr bwMode="auto">
            <a:xfrm>
              <a:off x="322263" y="4654550"/>
              <a:ext cx="501650" cy="384175"/>
            </a:xfrm>
            <a:custGeom>
              <a:avLst/>
              <a:gdLst>
                <a:gd name="T0" fmla="*/ 1357 w 1393"/>
                <a:gd name="T1" fmla="*/ 201 h 1065"/>
                <a:gd name="T2" fmla="*/ 1388 w 1393"/>
                <a:gd name="T3" fmla="*/ 428 h 1065"/>
                <a:gd name="T4" fmla="*/ 1373 w 1393"/>
                <a:gd name="T5" fmla="*/ 550 h 1065"/>
                <a:gd name="T6" fmla="*/ 1251 w 1393"/>
                <a:gd name="T7" fmla="*/ 805 h 1065"/>
                <a:gd name="T8" fmla="*/ 1235 w 1393"/>
                <a:gd name="T9" fmla="*/ 860 h 1065"/>
                <a:gd name="T10" fmla="*/ 1172 w 1393"/>
                <a:gd name="T11" fmla="*/ 919 h 1065"/>
                <a:gd name="T12" fmla="*/ 1093 w 1393"/>
                <a:gd name="T13" fmla="*/ 1064 h 1065"/>
                <a:gd name="T14" fmla="*/ 924 w 1393"/>
                <a:gd name="T15" fmla="*/ 958 h 1065"/>
                <a:gd name="T16" fmla="*/ 990 w 1393"/>
                <a:gd name="T17" fmla="*/ 880 h 1065"/>
                <a:gd name="T18" fmla="*/ 995 w 1393"/>
                <a:gd name="T19" fmla="*/ 825 h 1065"/>
                <a:gd name="T20" fmla="*/ 1038 w 1393"/>
                <a:gd name="T21" fmla="*/ 758 h 1065"/>
                <a:gd name="T22" fmla="*/ 1030 w 1393"/>
                <a:gd name="T23" fmla="*/ 726 h 1065"/>
                <a:gd name="T24" fmla="*/ 1086 w 1393"/>
                <a:gd name="T25" fmla="*/ 443 h 1065"/>
                <a:gd name="T26" fmla="*/ 830 w 1393"/>
                <a:gd name="T27" fmla="*/ 636 h 1065"/>
                <a:gd name="T28" fmla="*/ 680 w 1393"/>
                <a:gd name="T29" fmla="*/ 613 h 1065"/>
                <a:gd name="T30" fmla="*/ 298 w 1393"/>
                <a:gd name="T31" fmla="*/ 562 h 1065"/>
                <a:gd name="T32" fmla="*/ 290 w 1393"/>
                <a:gd name="T33" fmla="*/ 777 h 1065"/>
                <a:gd name="T34" fmla="*/ 322 w 1393"/>
                <a:gd name="T35" fmla="*/ 832 h 1065"/>
                <a:gd name="T36" fmla="*/ 310 w 1393"/>
                <a:gd name="T37" fmla="*/ 903 h 1065"/>
                <a:gd name="T38" fmla="*/ 338 w 1393"/>
                <a:gd name="T39" fmla="*/ 985 h 1065"/>
                <a:gd name="T40" fmla="*/ 188 w 1393"/>
                <a:gd name="T41" fmla="*/ 1036 h 1065"/>
                <a:gd name="T42" fmla="*/ 141 w 1393"/>
                <a:gd name="T43" fmla="*/ 922 h 1065"/>
                <a:gd name="T44" fmla="*/ 97 w 1393"/>
                <a:gd name="T45" fmla="*/ 883 h 1065"/>
                <a:gd name="T46" fmla="*/ 105 w 1393"/>
                <a:gd name="T47" fmla="*/ 868 h 1065"/>
                <a:gd name="T48" fmla="*/ 90 w 1393"/>
                <a:gd name="T49" fmla="*/ 820 h 1065"/>
                <a:gd name="T50" fmla="*/ 105 w 1393"/>
                <a:gd name="T51" fmla="*/ 781 h 1065"/>
                <a:gd name="T52" fmla="*/ 54 w 1393"/>
                <a:gd name="T53" fmla="*/ 711 h 1065"/>
                <a:gd name="T54" fmla="*/ 39 w 1393"/>
                <a:gd name="T55" fmla="*/ 640 h 1065"/>
                <a:gd name="T56" fmla="*/ 23 w 1393"/>
                <a:gd name="T57" fmla="*/ 538 h 1065"/>
                <a:gd name="T58" fmla="*/ 11 w 1393"/>
                <a:gd name="T59" fmla="*/ 491 h 1065"/>
                <a:gd name="T60" fmla="*/ 31 w 1393"/>
                <a:gd name="T61" fmla="*/ 357 h 1065"/>
                <a:gd name="T62" fmla="*/ 247 w 1393"/>
                <a:gd name="T63" fmla="*/ 244 h 1065"/>
                <a:gd name="T64" fmla="*/ 315 w 1393"/>
                <a:gd name="T65" fmla="*/ 195 h 1065"/>
                <a:gd name="T66" fmla="*/ 330 w 1393"/>
                <a:gd name="T67" fmla="*/ 193 h 1065"/>
                <a:gd name="T68" fmla="*/ 460 w 1393"/>
                <a:gd name="T69" fmla="*/ 74 h 1065"/>
                <a:gd name="T70" fmla="*/ 747 w 1393"/>
                <a:gd name="T71" fmla="*/ 3 h 1065"/>
                <a:gd name="T72" fmla="*/ 1097 w 1393"/>
                <a:gd name="T73" fmla="*/ 31 h 1065"/>
                <a:gd name="T74" fmla="*/ 1357 w 1393"/>
                <a:gd name="T75" fmla="*/ 201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93" h="1065">
                  <a:moveTo>
                    <a:pt x="1357" y="201"/>
                  </a:moveTo>
                  <a:cubicBezTo>
                    <a:pt x="1385" y="252"/>
                    <a:pt x="1385" y="381"/>
                    <a:pt x="1388" y="428"/>
                  </a:cubicBezTo>
                  <a:cubicBezTo>
                    <a:pt x="1392" y="475"/>
                    <a:pt x="1373" y="550"/>
                    <a:pt x="1373" y="550"/>
                  </a:cubicBezTo>
                  <a:lnTo>
                    <a:pt x="1251" y="805"/>
                  </a:lnTo>
                  <a:cubicBezTo>
                    <a:pt x="1251" y="805"/>
                    <a:pt x="1246" y="849"/>
                    <a:pt x="1235" y="860"/>
                  </a:cubicBezTo>
                  <a:cubicBezTo>
                    <a:pt x="1223" y="872"/>
                    <a:pt x="1172" y="919"/>
                    <a:pt x="1172" y="919"/>
                  </a:cubicBezTo>
                  <a:lnTo>
                    <a:pt x="1093" y="1064"/>
                  </a:lnTo>
                  <a:lnTo>
                    <a:pt x="924" y="958"/>
                  </a:lnTo>
                  <a:lnTo>
                    <a:pt x="990" y="880"/>
                  </a:lnTo>
                  <a:cubicBezTo>
                    <a:pt x="990" y="880"/>
                    <a:pt x="975" y="845"/>
                    <a:pt x="995" y="825"/>
                  </a:cubicBezTo>
                  <a:cubicBezTo>
                    <a:pt x="1015" y="805"/>
                    <a:pt x="1038" y="758"/>
                    <a:pt x="1038" y="758"/>
                  </a:cubicBezTo>
                  <a:cubicBezTo>
                    <a:pt x="1038" y="758"/>
                    <a:pt x="1018" y="750"/>
                    <a:pt x="1030" y="726"/>
                  </a:cubicBezTo>
                  <a:cubicBezTo>
                    <a:pt x="1042" y="703"/>
                    <a:pt x="1086" y="443"/>
                    <a:pt x="1086" y="443"/>
                  </a:cubicBezTo>
                  <a:cubicBezTo>
                    <a:pt x="1086" y="443"/>
                    <a:pt x="865" y="624"/>
                    <a:pt x="830" y="636"/>
                  </a:cubicBezTo>
                  <a:cubicBezTo>
                    <a:pt x="794" y="647"/>
                    <a:pt x="680" y="613"/>
                    <a:pt x="680" y="613"/>
                  </a:cubicBezTo>
                  <a:cubicBezTo>
                    <a:pt x="680" y="613"/>
                    <a:pt x="373" y="624"/>
                    <a:pt x="298" y="562"/>
                  </a:cubicBezTo>
                  <a:cubicBezTo>
                    <a:pt x="298" y="562"/>
                    <a:pt x="302" y="735"/>
                    <a:pt x="290" y="777"/>
                  </a:cubicBezTo>
                  <a:cubicBezTo>
                    <a:pt x="290" y="777"/>
                    <a:pt x="325" y="797"/>
                    <a:pt x="322" y="832"/>
                  </a:cubicBezTo>
                  <a:cubicBezTo>
                    <a:pt x="317" y="868"/>
                    <a:pt x="310" y="903"/>
                    <a:pt x="310" y="903"/>
                  </a:cubicBezTo>
                  <a:lnTo>
                    <a:pt x="338" y="985"/>
                  </a:lnTo>
                  <a:cubicBezTo>
                    <a:pt x="338" y="985"/>
                    <a:pt x="251" y="982"/>
                    <a:pt x="188" y="1036"/>
                  </a:cubicBezTo>
                  <a:cubicBezTo>
                    <a:pt x="165" y="1057"/>
                    <a:pt x="141" y="922"/>
                    <a:pt x="141" y="922"/>
                  </a:cubicBezTo>
                  <a:cubicBezTo>
                    <a:pt x="141" y="922"/>
                    <a:pt x="89" y="899"/>
                    <a:pt x="97" y="883"/>
                  </a:cubicBezTo>
                  <a:cubicBezTo>
                    <a:pt x="104" y="868"/>
                    <a:pt x="105" y="868"/>
                    <a:pt x="105" y="868"/>
                  </a:cubicBezTo>
                  <a:cubicBezTo>
                    <a:pt x="105" y="868"/>
                    <a:pt x="90" y="837"/>
                    <a:pt x="90" y="820"/>
                  </a:cubicBezTo>
                  <a:cubicBezTo>
                    <a:pt x="90" y="805"/>
                    <a:pt x="105" y="781"/>
                    <a:pt x="105" y="781"/>
                  </a:cubicBezTo>
                  <a:cubicBezTo>
                    <a:pt x="105" y="781"/>
                    <a:pt x="46" y="741"/>
                    <a:pt x="54" y="711"/>
                  </a:cubicBezTo>
                  <a:cubicBezTo>
                    <a:pt x="58" y="695"/>
                    <a:pt x="34" y="656"/>
                    <a:pt x="39" y="640"/>
                  </a:cubicBezTo>
                  <a:cubicBezTo>
                    <a:pt x="44" y="621"/>
                    <a:pt x="23" y="538"/>
                    <a:pt x="23" y="538"/>
                  </a:cubicBezTo>
                  <a:cubicBezTo>
                    <a:pt x="23" y="538"/>
                    <a:pt x="8" y="507"/>
                    <a:pt x="11" y="491"/>
                  </a:cubicBezTo>
                  <a:cubicBezTo>
                    <a:pt x="15" y="476"/>
                    <a:pt x="0" y="381"/>
                    <a:pt x="31" y="357"/>
                  </a:cubicBezTo>
                  <a:cubicBezTo>
                    <a:pt x="31" y="357"/>
                    <a:pt x="153" y="247"/>
                    <a:pt x="247" y="244"/>
                  </a:cubicBezTo>
                  <a:cubicBezTo>
                    <a:pt x="247" y="244"/>
                    <a:pt x="264" y="204"/>
                    <a:pt x="315" y="195"/>
                  </a:cubicBezTo>
                  <a:cubicBezTo>
                    <a:pt x="319" y="194"/>
                    <a:pt x="324" y="193"/>
                    <a:pt x="330" y="193"/>
                  </a:cubicBezTo>
                  <a:cubicBezTo>
                    <a:pt x="393" y="189"/>
                    <a:pt x="460" y="74"/>
                    <a:pt x="460" y="74"/>
                  </a:cubicBezTo>
                  <a:cubicBezTo>
                    <a:pt x="460" y="74"/>
                    <a:pt x="680" y="0"/>
                    <a:pt x="747" y="3"/>
                  </a:cubicBezTo>
                  <a:cubicBezTo>
                    <a:pt x="814" y="8"/>
                    <a:pt x="983" y="3"/>
                    <a:pt x="1097" y="31"/>
                  </a:cubicBezTo>
                  <a:cubicBezTo>
                    <a:pt x="1211" y="59"/>
                    <a:pt x="1329" y="150"/>
                    <a:pt x="1357" y="201"/>
                  </a:cubicBezTo>
                </a:path>
              </a:pathLst>
            </a:custGeom>
            <a:solidFill>
              <a:srgbClr val="92D1F2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3" name="ïṩḻïḍé">
              <a:extLst>
                <a:ext uri="{FF2B5EF4-FFF2-40B4-BE49-F238E27FC236}">
                  <a16:creationId xmlns="" xmlns:a16="http://schemas.microsoft.com/office/drawing/2014/main" id="{D5B5D46F-D713-44F7-AE4F-F24A825F4A65}"/>
                </a:ext>
              </a:extLst>
            </p:cNvPr>
            <p:cNvSpPr/>
            <p:nvPr/>
          </p:nvSpPr>
          <p:spPr bwMode="auto">
            <a:xfrm>
              <a:off x="323850" y="4652963"/>
              <a:ext cx="501650" cy="387350"/>
            </a:xfrm>
            <a:custGeom>
              <a:avLst/>
              <a:gdLst>
                <a:gd name="T0" fmla="*/ 1380 w 1393"/>
                <a:gd name="T1" fmla="*/ 433 h 1075"/>
                <a:gd name="T2" fmla="*/ 1349 w 1393"/>
                <a:gd name="T3" fmla="*/ 206 h 1075"/>
                <a:gd name="T4" fmla="*/ 806 w 1393"/>
                <a:gd name="T5" fmla="*/ 14 h 1075"/>
                <a:gd name="T6" fmla="*/ 459 w 1393"/>
                <a:gd name="T7" fmla="*/ 81 h 1075"/>
                <a:gd name="T8" fmla="*/ 311 w 1393"/>
                <a:gd name="T9" fmla="*/ 202 h 1075"/>
                <a:gd name="T10" fmla="*/ 244 w 1393"/>
                <a:gd name="T11" fmla="*/ 251 h 1075"/>
                <a:gd name="T12" fmla="*/ 11 w 1393"/>
                <a:gd name="T13" fmla="*/ 468 h 1075"/>
                <a:gd name="T14" fmla="*/ 23 w 1393"/>
                <a:gd name="T15" fmla="*/ 541 h 1075"/>
                <a:gd name="T16" fmla="*/ 39 w 1393"/>
                <a:gd name="T17" fmla="*/ 646 h 1075"/>
                <a:gd name="T18" fmla="*/ 54 w 1393"/>
                <a:gd name="T19" fmla="*/ 717 h 1075"/>
                <a:gd name="T20" fmla="*/ 105 w 1393"/>
                <a:gd name="T21" fmla="*/ 789 h 1075"/>
                <a:gd name="T22" fmla="*/ 105 w 1393"/>
                <a:gd name="T23" fmla="*/ 872 h 1075"/>
                <a:gd name="T24" fmla="*/ 97 w 1393"/>
                <a:gd name="T25" fmla="*/ 891 h 1075"/>
                <a:gd name="T26" fmla="*/ 139 w 1393"/>
                <a:gd name="T27" fmla="*/ 925 h 1075"/>
                <a:gd name="T28" fmla="*/ 180 w 1393"/>
                <a:gd name="T29" fmla="*/ 1042 h 1075"/>
                <a:gd name="T30" fmla="*/ 329 w 1393"/>
                <a:gd name="T31" fmla="*/ 988 h 1075"/>
                <a:gd name="T32" fmla="*/ 303 w 1393"/>
                <a:gd name="T33" fmla="*/ 909 h 1075"/>
                <a:gd name="T34" fmla="*/ 284 w 1393"/>
                <a:gd name="T35" fmla="*/ 787 h 1075"/>
                <a:gd name="T36" fmla="*/ 291 w 1393"/>
                <a:gd name="T37" fmla="*/ 567 h 1075"/>
                <a:gd name="T38" fmla="*/ 297 w 1393"/>
                <a:gd name="T39" fmla="*/ 563 h 1075"/>
                <a:gd name="T40" fmla="*/ 676 w 1393"/>
                <a:gd name="T41" fmla="*/ 614 h 1075"/>
                <a:gd name="T42" fmla="*/ 806 w 1393"/>
                <a:gd name="T43" fmla="*/ 640 h 1075"/>
                <a:gd name="T44" fmla="*/ 1078 w 1393"/>
                <a:gd name="T45" fmla="*/ 446 h 1075"/>
                <a:gd name="T46" fmla="*/ 1085 w 1393"/>
                <a:gd name="T47" fmla="*/ 449 h 1075"/>
                <a:gd name="T48" fmla="*/ 1027 w 1393"/>
                <a:gd name="T49" fmla="*/ 752 h 1075"/>
                <a:gd name="T50" fmla="*/ 1037 w 1393"/>
                <a:gd name="T51" fmla="*/ 762 h 1075"/>
                <a:gd name="T52" fmla="*/ 993 w 1393"/>
                <a:gd name="T53" fmla="*/ 833 h 1075"/>
                <a:gd name="T54" fmla="*/ 990 w 1393"/>
                <a:gd name="T55" fmla="*/ 888 h 1075"/>
                <a:gd name="T56" fmla="*/ 1087 w 1393"/>
                <a:gd name="T57" fmla="*/ 1065 h 1075"/>
                <a:gd name="T58" fmla="*/ 1165 w 1393"/>
                <a:gd name="T59" fmla="*/ 922 h 1075"/>
                <a:gd name="T60" fmla="*/ 1242 w 1393"/>
                <a:gd name="T61" fmla="*/ 810 h 1075"/>
                <a:gd name="T62" fmla="*/ 1364 w 1393"/>
                <a:gd name="T63" fmla="*/ 554 h 1075"/>
                <a:gd name="T64" fmla="*/ 1388 w 1393"/>
                <a:gd name="T65" fmla="*/ 433 h 1075"/>
                <a:gd name="T66" fmla="*/ 1250 w 1393"/>
                <a:gd name="T67" fmla="*/ 812 h 1075"/>
                <a:gd name="T68" fmla="*/ 1171 w 1393"/>
                <a:gd name="T69" fmla="*/ 928 h 1075"/>
                <a:gd name="T70" fmla="*/ 1090 w 1393"/>
                <a:gd name="T71" fmla="*/ 1074 h 1075"/>
                <a:gd name="T72" fmla="*/ 1087 w 1393"/>
                <a:gd name="T73" fmla="*/ 1074 h 1075"/>
                <a:gd name="T74" fmla="*/ 916 w 1393"/>
                <a:gd name="T75" fmla="*/ 965 h 1075"/>
                <a:gd name="T76" fmla="*/ 983 w 1393"/>
                <a:gd name="T77" fmla="*/ 884 h 1075"/>
                <a:gd name="T78" fmla="*/ 1029 w 1393"/>
                <a:gd name="T79" fmla="*/ 766 h 1075"/>
                <a:gd name="T80" fmla="*/ 1022 w 1393"/>
                <a:gd name="T81" fmla="*/ 731 h 1075"/>
                <a:gd name="T82" fmla="*/ 827 w 1393"/>
                <a:gd name="T83" fmla="*/ 645 h 1075"/>
                <a:gd name="T84" fmla="*/ 676 w 1393"/>
                <a:gd name="T85" fmla="*/ 621 h 1075"/>
                <a:gd name="T86" fmla="*/ 298 w 1393"/>
                <a:gd name="T87" fmla="*/ 575 h 1075"/>
                <a:gd name="T88" fmla="*/ 323 w 1393"/>
                <a:gd name="T89" fmla="*/ 839 h 1075"/>
                <a:gd name="T90" fmla="*/ 338 w 1393"/>
                <a:gd name="T91" fmla="*/ 990 h 1075"/>
                <a:gd name="T92" fmla="*/ 334 w 1393"/>
                <a:gd name="T93" fmla="*/ 996 h 1075"/>
                <a:gd name="T94" fmla="*/ 187 w 1393"/>
                <a:gd name="T95" fmla="*/ 1046 h 1075"/>
                <a:gd name="T96" fmla="*/ 134 w 1393"/>
                <a:gd name="T97" fmla="*/ 932 h 1075"/>
                <a:gd name="T98" fmla="*/ 90 w 1393"/>
                <a:gd name="T99" fmla="*/ 888 h 1075"/>
                <a:gd name="T100" fmla="*/ 82 w 1393"/>
                <a:gd name="T101" fmla="*/ 826 h 1075"/>
                <a:gd name="T102" fmla="*/ 47 w 1393"/>
                <a:gd name="T103" fmla="*/ 716 h 1075"/>
                <a:gd name="T104" fmla="*/ 31 w 1393"/>
                <a:gd name="T105" fmla="*/ 645 h 1075"/>
                <a:gd name="T106" fmla="*/ 4 w 1393"/>
                <a:gd name="T107" fmla="*/ 495 h 1075"/>
                <a:gd name="T108" fmla="*/ 25 w 1393"/>
                <a:gd name="T109" fmla="*/ 358 h 1075"/>
                <a:gd name="T110" fmla="*/ 310 w 1393"/>
                <a:gd name="T111" fmla="*/ 194 h 1075"/>
                <a:gd name="T112" fmla="*/ 453 w 1393"/>
                <a:gd name="T113" fmla="*/ 77 h 1075"/>
                <a:gd name="T114" fmla="*/ 743 w 1393"/>
                <a:gd name="T115" fmla="*/ 3 h 1075"/>
                <a:gd name="T116" fmla="*/ 1094 w 1393"/>
                <a:gd name="T117" fmla="*/ 31 h 1075"/>
                <a:gd name="T118" fmla="*/ 1386 w 1393"/>
                <a:gd name="T119" fmla="*/ 394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93" h="1075">
                  <a:moveTo>
                    <a:pt x="1364" y="554"/>
                  </a:moveTo>
                  <a:cubicBezTo>
                    <a:pt x="1366" y="548"/>
                    <a:pt x="1384" y="477"/>
                    <a:pt x="1380" y="433"/>
                  </a:cubicBezTo>
                  <a:cubicBezTo>
                    <a:pt x="1379" y="424"/>
                    <a:pt x="1379" y="411"/>
                    <a:pt x="1378" y="396"/>
                  </a:cubicBezTo>
                  <a:cubicBezTo>
                    <a:pt x="1374" y="336"/>
                    <a:pt x="1371" y="247"/>
                    <a:pt x="1349" y="206"/>
                  </a:cubicBezTo>
                  <a:cubicBezTo>
                    <a:pt x="1323" y="158"/>
                    <a:pt x="1207" y="66"/>
                    <a:pt x="1092" y="38"/>
                  </a:cubicBezTo>
                  <a:cubicBezTo>
                    <a:pt x="1005" y="18"/>
                    <a:pt x="885" y="15"/>
                    <a:pt x="806" y="14"/>
                  </a:cubicBezTo>
                  <a:cubicBezTo>
                    <a:pt x="780" y="13"/>
                    <a:pt x="758" y="13"/>
                    <a:pt x="742" y="12"/>
                  </a:cubicBezTo>
                  <a:cubicBezTo>
                    <a:pt x="679" y="8"/>
                    <a:pt x="477" y="76"/>
                    <a:pt x="459" y="81"/>
                  </a:cubicBezTo>
                  <a:cubicBezTo>
                    <a:pt x="451" y="95"/>
                    <a:pt x="388" y="197"/>
                    <a:pt x="326" y="200"/>
                  </a:cubicBezTo>
                  <a:cubicBezTo>
                    <a:pt x="322" y="201"/>
                    <a:pt x="316" y="201"/>
                    <a:pt x="311" y="202"/>
                  </a:cubicBezTo>
                  <a:cubicBezTo>
                    <a:pt x="263" y="212"/>
                    <a:pt x="247" y="249"/>
                    <a:pt x="247" y="249"/>
                  </a:cubicBezTo>
                  <a:cubicBezTo>
                    <a:pt x="246" y="250"/>
                    <a:pt x="245" y="251"/>
                    <a:pt x="244" y="251"/>
                  </a:cubicBezTo>
                  <a:cubicBezTo>
                    <a:pt x="152" y="256"/>
                    <a:pt x="31" y="364"/>
                    <a:pt x="30" y="365"/>
                  </a:cubicBezTo>
                  <a:cubicBezTo>
                    <a:pt x="9" y="380"/>
                    <a:pt x="10" y="435"/>
                    <a:pt x="11" y="468"/>
                  </a:cubicBezTo>
                  <a:cubicBezTo>
                    <a:pt x="12" y="482"/>
                    <a:pt x="12" y="492"/>
                    <a:pt x="11" y="497"/>
                  </a:cubicBezTo>
                  <a:cubicBezTo>
                    <a:pt x="9" y="509"/>
                    <a:pt x="18" y="533"/>
                    <a:pt x="23" y="541"/>
                  </a:cubicBezTo>
                  <a:lnTo>
                    <a:pt x="23" y="542"/>
                  </a:lnTo>
                  <a:cubicBezTo>
                    <a:pt x="25" y="550"/>
                    <a:pt x="44" y="626"/>
                    <a:pt x="39" y="646"/>
                  </a:cubicBezTo>
                  <a:cubicBezTo>
                    <a:pt x="37" y="653"/>
                    <a:pt x="43" y="667"/>
                    <a:pt x="46" y="680"/>
                  </a:cubicBezTo>
                  <a:cubicBezTo>
                    <a:pt x="52" y="695"/>
                    <a:pt x="57" y="709"/>
                    <a:pt x="54" y="717"/>
                  </a:cubicBezTo>
                  <a:cubicBezTo>
                    <a:pt x="49" y="740"/>
                    <a:pt x="88" y="773"/>
                    <a:pt x="104" y="784"/>
                  </a:cubicBezTo>
                  <a:cubicBezTo>
                    <a:pt x="105" y="786"/>
                    <a:pt x="107" y="788"/>
                    <a:pt x="105" y="789"/>
                  </a:cubicBezTo>
                  <a:cubicBezTo>
                    <a:pt x="105" y="789"/>
                    <a:pt x="90" y="812"/>
                    <a:pt x="90" y="826"/>
                  </a:cubicBezTo>
                  <a:cubicBezTo>
                    <a:pt x="90" y="841"/>
                    <a:pt x="105" y="872"/>
                    <a:pt x="105" y="872"/>
                  </a:cubicBezTo>
                  <a:cubicBezTo>
                    <a:pt x="107" y="873"/>
                    <a:pt x="107" y="874"/>
                    <a:pt x="105" y="875"/>
                  </a:cubicBezTo>
                  <a:lnTo>
                    <a:pt x="97" y="891"/>
                  </a:lnTo>
                  <a:cubicBezTo>
                    <a:pt x="97" y="891"/>
                    <a:pt x="97" y="893"/>
                    <a:pt x="97" y="895"/>
                  </a:cubicBezTo>
                  <a:cubicBezTo>
                    <a:pt x="102" y="905"/>
                    <a:pt x="129" y="921"/>
                    <a:pt x="139" y="925"/>
                  </a:cubicBezTo>
                  <a:cubicBezTo>
                    <a:pt x="140" y="926"/>
                    <a:pt x="141" y="926"/>
                    <a:pt x="141" y="929"/>
                  </a:cubicBezTo>
                  <a:cubicBezTo>
                    <a:pt x="151" y="982"/>
                    <a:pt x="168" y="1042"/>
                    <a:pt x="180" y="1042"/>
                  </a:cubicBezTo>
                  <a:cubicBezTo>
                    <a:pt x="180" y="1042"/>
                    <a:pt x="181" y="1040"/>
                    <a:pt x="182" y="1040"/>
                  </a:cubicBezTo>
                  <a:cubicBezTo>
                    <a:pt x="236" y="993"/>
                    <a:pt x="306" y="988"/>
                    <a:pt x="329" y="988"/>
                  </a:cubicBezTo>
                  <a:lnTo>
                    <a:pt x="303" y="910"/>
                  </a:lnTo>
                  <a:lnTo>
                    <a:pt x="303" y="909"/>
                  </a:lnTo>
                  <a:cubicBezTo>
                    <a:pt x="303" y="908"/>
                    <a:pt x="310" y="873"/>
                    <a:pt x="315" y="838"/>
                  </a:cubicBezTo>
                  <a:cubicBezTo>
                    <a:pt x="318" y="805"/>
                    <a:pt x="286" y="787"/>
                    <a:pt x="284" y="787"/>
                  </a:cubicBezTo>
                  <a:cubicBezTo>
                    <a:pt x="283" y="785"/>
                    <a:pt x="282" y="784"/>
                    <a:pt x="283" y="782"/>
                  </a:cubicBezTo>
                  <a:cubicBezTo>
                    <a:pt x="295" y="740"/>
                    <a:pt x="291" y="568"/>
                    <a:pt x="291" y="567"/>
                  </a:cubicBezTo>
                  <a:cubicBezTo>
                    <a:pt x="290" y="566"/>
                    <a:pt x="291" y="563"/>
                    <a:pt x="293" y="563"/>
                  </a:cubicBezTo>
                  <a:cubicBezTo>
                    <a:pt x="295" y="562"/>
                    <a:pt x="296" y="562"/>
                    <a:pt x="297" y="563"/>
                  </a:cubicBezTo>
                  <a:cubicBezTo>
                    <a:pt x="352" y="610"/>
                    <a:pt x="540" y="614"/>
                    <a:pt x="619" y="614"/>
                  </a:cubicBezTo>
                  <a:cubicBezTo>
                    <a:pt x="653" y="614"/>
                    <a:pt x="676" y="614"/>
                    <a:pt x="676" y="614"/>
                  </a:cubicBezTo>
                  <a:lnTo>
                    <a:pt x="677" y="614"/>
                  </a:lnTo>
                  <a:cubicBezTo>
                    <a:pt x="678" y="614"/>
                    <a:pt x="761" y="640"/>
                    <a:pt x="806" y="640"/>
                  </a:cubicBezTo>
                  <a:cubicBezTo>
                    <a:pt x="814" y="640"/>
                    <a:pt x="820" y="639"/>
                    <a:pt x="825" y="638"/>
                  </a:cubicBezTo>
                  <a:cubicBezTo>
                    <a:pt x="858" y="626"/>
                    <a:pt x="1077" y="447"/>
                    <a:pt x="1078" y="446"/>
                  </a:cubicBezTo>
                  <a:cubicBezTo>
                    <a:pt x="1080" y="444"/>
                    <a:pt x="1081" y="444"/>
                    <a:pt x="1083" y="446"/>
                  </a:cubicBezTo>
                  <a:cubicBezTo>
                    <a:pt x="1084" y="446"/>
                    <a:pt x="1085" y="448"/>
                    <a:pt x="1085" y="449"/>
                  </a:cubicBezTo>
                  <a:cubicBezTo>
                    <a:pt x="1083" y="460"/>
                    <a:pt x="1041" y="710"/>
                    <a:pt x="1029" y="733"/>
                  </a:cubicBezTo>
                  <a:cubicBezTo>
                    <a:pt x="1026" y="740"/>
                    <a:pt x="1026" y="746"/>
                    <a:pt x="1027" y="752"/>
                  </a:cubicBezTo>
                  <a:cubicBezTo>
                    <a:pt x="1029" y="758"/>
                    <a:pt x="1035" y="760"/>
                    <a:pt x="1035" y="760"/>
                  </a:cubicBezTo>
                  <a:cubicBezTo>
                    <a:pt x="1036" y="760"/>
                    <a:pt x="1037" y="761"/>
                    <a:pt x="1037" y="762"/>
                  </a:cubicBezTo>
                  <a:cubicBezTo>
                    <a:pt x="1037" y="763"/>
                    <a:pt x="1037" y="765"/>
                    <a:pt x="1037" y="766"/>
                  </a:cubicBezTo>
                  <a:cubicBezTo>
                    <a:pt x="1036" y="767"/>
                    <a:pt x="1013" y="813"/>
                    <a:pt x="993" y="833"/>
                  </a:cubicBezTo>
                  <a:cubicBezTo>
                    <a:pt x="976" y="851"/>
                    <a:pt x="990" y="883"/>
                    <a:pt x="990" y="884"/>
                  </a:cubicBezTo>
                  <a:cubicBezTo>
                    <a:pt x="991" y="886"/>
                    <a:pt x="991" y="887"/>
                    <a:pt x="990" y="888"/>
                  </a:cubicBezTo>
                  <a:lnTo>
                    <a:pt x="926" y="964"/>
                  </a:lnTo>
                  <a:lnTo>
                    <a:pt x="1087" y="1065"/>
                  </a:lnTo>
                  <a:lnTo>
                    <a:pt x="1164" y="923"/>
                  </a:lnTo>
                  <a:cubicBezTo>
                    <a:pt x="1164" y="923"/>
                    <a:pt x="1164" y="923"/>
                    <a:pt x="1165" y="922"/>
                  </a:cubicBezTo>
                  <a:cubicBezTo>
                    <a:pt x="1165" y="922"/>
                    <a:pt x="1216" y="875"/>
                    <a:pt x="1228" y="863"/>
                  </a:cubicBezTo>
                  <a:cubicBezTo>
                    <a:pt x="1236" y="854"/>
                    <a:pt x="1241" y="822"/>
                    <a:pt x="1242" y="810"/>
                  </a:cubicBezTo>
                  <a:cubicBezTo>
                    <a:pt x="1242" y="810"/>
                    <a:pt x="1243" y="810"/>
                    <a:pt x="1243" y="809"/>
                  </a:cubicBezTo>
                  <a:lnTo>
                    <a:pt x="1364" y="554"/>
                  </a:lnTo>
                  <a:close/>
                  <a:moveTo>
                    <a:pt x="1386" y="394"/>
                  </a:moveTo>
                  <a:cubicBezTo>
                    <a:pt x="1386" y="410"/>
                    <a:pt x="1387" y="422"/>
                    <a:pt x="1388" y="433"/>
                  </a:cubicBezTo>
                  <a:cubicBezTo>
                    <a:pt x="1392" y="479"/>
                    <a:pt x="1373" y="553"/>
                    <a:pt x="1372" y="556"/>
                  </a:cubicBezTo>
                  <a:lnTo>
                    <a:pt x="1250" y="812"/>
                  </a:lnTo>
                  <a:cubicBezTo>
                    <a:pt x="1249" y="819"/>
                    <a:pt x="1245" y="857"/>
                    <a:pt x="1234" y="869"/>
                  </a:cubicBezTo>
                  <a:cubicBezTo>
                    <a:pt x="1222" y="880"/>
                    <a:pt x="1177" y="923"/>
                    <a:pt x="1171" y="928"/>
                  </a:cubicBezTo>
                  <a:lnTo>
                    <a:pt x="1092" y="1073"/>
                  </a:lnTo>
                  <a:cubicBezTo>
                    <a:pt x="1092" y="1074"/>
                    <a:pt x="1091" y="1074"/>
                    <a:pt x="1090" y="1074"/>
                  </a:cubicBezTo>
                  <a:cubicBezTo>
                    <a:pt x="1090" y="1074"/>
                    <a:pt x="1090" y="1074"/>
                    <a:pt x="1088" y="1074"/>
                  </a:cubicBezTo>
                  <a:lnTo>
                    <a:pt x="1087" y="1074"/>
                  </a:lnTo>
                  <a:lnTo>
                    <a:pt x="918" y="968"/>
                  </a:lnTo>
                  <a:cubicBezTo>
                    <a:pt x="916" y="967"/>
                    <a:pt x="916" y="966"/>
                    <a:pt x="916" y="965"/>
                  </a:cubicBezTo>
                  <a:cubicBezTo>
                    <a:pt x="915" y="964"/>
                    <a:pt x="916" y="962"/>
                    <a:pt x="916" y="962"/>
                  </a:cubicBezTo>
                  <a:lnTo>
                    <a:pt x="983" y="884"/>
                  </a:lnTo>
                  <a:cubicBezTo>
                    <a:pt x="979" y="876"/>
                    <a:pt x="970" y="846"/>
                    <a:pt x="987" y="827"/>
                  </a:cubicBezTo>
                  <a:cubicBezTo>
                    <a:pt x="1004" y="812"/>
                    <a:pt x="1023" y="776"/>
                    <a:pt x="1029" y="766"/>
                  </a:cubicBezTo>
                  <a:cubicBezTo>
                    <a:pt x="1026" y="763"/>
                    <a:pt x="1022" y="760"/>
                    <a:pt x="1020" y="754"/>
                  </a:cubicBezTo>
                  <a:cubicBezTo>
                    <a:pt x="1018" y="747"/>
                    <a:pt x="1018" y="739"/>
                    <a:pt x="1022" y="731"/>
                  </a:cubicBezTo>
                  <a:cubicBezTo>
                    <a:pt x="1031" y="712"/>
                    <a:pt x="1061" y="550"/>
                    <a:pt x="1076" y="458"/>
                  </a:cubicBezTo>
                  <a:cubicBezTo>
                    <a:pt x="1035" y="491"/>
                    <a:pt x="858" y="634"/>
                    <a:pt x="827" y="645"/>
                  </a:cubicBezTo>
                  <a:cubicBezTo>
                    <a:pt x="821" y="647"/>
                    <a:pt x="814" y="648"/>
                    <a:pt x="806" y="648"/>
                  </a:cubicBezTo>
                  <a:cubicBezTo>
                    <a:pt x="762" y="648"/>
                    <a:pt x="684" y="625"/>
                    <a:pt x="676" y="621"/>
                  </a:cubicBezTo>
                  <a:cubicBezTo>
                    <a:pt x="671" y="621"/>
                    <a:pt x="649" y="623"/>
                    <a:pt x="619" y="623"/>
                  </a:cubicBezTo>
                  <a:cubicBezTo>
                    <a:pt x="524" y="623"/>
                    <a:pt x="360" y="617"/>
                    <a:pt x="298" y="575"/>
                  </a:cubicBezTo>
                  <a:cubicBezTo>
                    <a:pt x="299" y="609"/>
                    <a:pt x="301" y="739"/>
                    <a:pt x="291" y="781"/>
                  </a:cubicBezTo>
                  <a:cubicBezTo>
                    <a:pt x="299" y="787"/>
                    <a:pt x="326" y="806"/>
                    <a:pt x="323" y="839"/>
                  </a:cubicBezTo>
                  <a:cubicBezTo>
                    <a:pt x="319" y="870"/>
                    <a:pt x="312" y="903"/>
                    <a:pt x="311" y="909"/>
                  </a:cubicBezTo>
                  <a:lnTo>
                    <a:pt x="338" y="990"/>
                  </a:lnTo>
                  <a:lnTo>
                    <a:pt x="338" y="992"/>
                  </a:lnTo>
                  <a:cubicBezTo>
                    <a:pt x="338" y="994"/>
                    <a:pt x="337" y="996"/>
                    <a:pt x="334" y="996"/>
                  </a:cubicBezTo>
                  <a:cubicBezTo>
                    <a:pt x="334" y="996"/>
                    <a:pt x="332" y="996"/>
                    <a:pt x="330" y="996"/>
                  </a:cubicBezTo>
                  <a:cubicBezTo>
                    <a:pt x="316" y="996"/>
                    <a:pt x="241" y="999"/>
                    <a:pt x="187" y="1046"/>
                  </a:cubicBezTo>
                  <a:cubicBezTo>
                    <a:pt x="184" y="1049"/>
                    <a:pt x="182" y="1050"/>
                    <a:pt x="180" y="1050"/>
                  </a:cubicBezTo>
                  <a:cubicBezTo>
                    <a:pt x="158" y="1050"/>
                    <a:pt x="139" y="961"/>
                    <a:pt x="134" y="932"/>
                  </a:cubicBezTo>
                  <a:cubicBezTo>
                    <a:pt x="125" y="928"/>
                    <a:pt x="95" y="912"/>
                    <a:pt x="90" y="897"/>
                  </a:cubicBezTo>
                  <a:cubicBezTo>
                    <a:pt x="89" y="894"/>
                    <a:pt x="89" y="890"/>
                    <a:pt x="90" y="888"/>
                  </a:cubicBezTo>
                  <a:lnTo>
                    <a:pt x="97" y="874"/>
                  </a:lnTo>
                  <a:cubicBezTo>
                    <a:pt x="94" y="867"/>
                    <a:pt x="82" y="841"/>
                    <a:pt x="82" y="826"/>
                  </a:cubicBezTo>
                  <a:cubicBezTo>
                    <a:pt x="82" y="813"/>
                    <a:pt x="93" y="796"/>
                    <a:pt x="97" y="788"/>
                  </a:cubicBezTo>
                  <a:cubicBezTo>
                    <a:pt x="85" y="780"/>
                    <a:pt x="40" y="745"/>
                    <a:pt x="47" y="716"/>
                  </a:cubicBezTo>
                  <a:cubicBezTo>
                    <a:pt x="49" y="709"/>
                    <a:pt x="44" y="695"/>
                    <a:pt x="39" y="682"/>
                  </a:cubicBezTo>
                  <a:cubicBezTo>
                    <a:pt x="35" y="668"/>
                    <a:pt x="29" y="654"/>
                    <a:pt x="31" y="645"/>
                  </a:cubicBezTo>
                  <a:cubicBezTo>
                    <a:pt x="36" y="630"/>
                    <a:pt x="22" y="568"/>
                    <a:pt x="16" y="545"/>
                  </a:cubicBezTo>
                  <a:cubicBezTo>
                    <a:pt x="14" y="540"/>
                    <a:pt x="0" y="511"/>
                    <a:pt x="4" y="495"/>
                  </a:cubicBezTo>
                  <a:cubicBezTo>
                    <a:pt x="4" y="491"/>
                    <a:pt x="4" y="481"/>
                    <a:pt x="4" y="469"/>
                  </a:cubicBezTo>
                  <a:cubicBezTo>
                    <a:pt x="3" y="432"/>
                    <a:pt x="1" y="377"/>
                    <a:pt x="25" y="358"/>
                  </a:cubicBezTo>
                  <a:cubicBezTo>
                    <a:pt x="30" y="355"/>
                    <a:pt x="147" y="249"/>
                    <a:pt x="241" y="244"/>
                  </a:cubicBezTo>
                  <a:cubicBezTo>
                    <a:pt x="246" y="235"/>
                    <a:pt x="265" y="204"/>
                    <a:pt x="310" y="194"/>
                  </a:cubicBezTo>
                  <a:cubicBezTo>
                    <a:pt x="315" y="193"/>
                    <a:pt x="320" y="193"/>
                    <a:pt x="326" y="193"/>
                  </a:cubicBezTo>
                  <a:cubicBezTo>
                    <a:pt x="387" y="188"/>
                    <a:pt x="452" y="78"/>
                    <a:pt x="453" y="77"/>
                  </a:cubicBezTo>
                  <a:cubicBezTo>
                    <a:pt x="453" y="76"/>
                    <a:pt x="454" y="74"/>
                    <a:pt x="455" y="74"/>
                  </a:cubicBezTo>
                  <a:cubicBezTo>
                    <a:pt x="463" y="72"/>
                    <a:pt x="676" y="0"/>
                    <a:pt x="743" y="3"/>
                  </a:cubicBezTo>
                  <a:cubicBezTo>
                    <a:pt x="758" y="5"/>
                    <a:pt x="781" y="5"/>
                    <a:pt x="806" y="6"/>
                  </a:cubicBezTo>
                  <a:cubicBezTo>
                    <a:pt x="885" y="7"/>
                    <a:pt x="1006" y="10"/>
                    <a:pt x="1094" y="31"/>
                  </a:cubicBezTo>
                  <a:cubicBezTo>
                    <a:pt x="1212" y="59"/>
                    <a:pt x="1329" y="153"/>
                    <a:pt x="1356" y="202"/>
                  </a:cubicBezTo>
                  <a:cubicBezTo>
                    <a:pt x="1378" y="244"/>
                    <a:pt x="1382" y="335"/>
                    <a:pt x="1386" y="394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4" name="îṧ1iďè">
              <a:extLst>
                <a:ext uri="{FF2B5EF4-FFF2-40B4-BE49-F238E27FC236}">
                  <a16:creationId xmlns="" xmlns:a16="http://schemas.microsoft.com/office/drawing/2014/main" id="{92461B46-D33A-4478-A874-CA6F577247CA}"/>
                </a:ext>
              </a:extLst>
            </p:cNvPr>
            <p:cNvSpPr/>
            <p:nvPr/>
          </p:nvSpPr>
          <p:spPr bwMode="auto">
            <a:xfrm>
              <a:off x="530225" y="4718050"/>
              <a:ext cx="168275" cy="133350"/>
            </a:xfrm>
            <a:custGeom>
              <a:avLst/>
              <a:gdLst>
                <a:gd name="T0" fmla="*/ 257 w 466"/>
                <a:gd name="T1" fmla="*/ 4 h 369"/>
                <a:gd name="T2" fmla="*/ 465 w 466"/>
                <a:gd name="T3" fmla="*/ 137 h 369"/>
                <a:gd name="T4" fmla="*/ 399 w 466"/>
                <a:gd name="T5" fmla="*/ 337 h 369"/>
                <a:gd name="T6" fmla="*/ 83 w 466"/>
                <a:gd name="T7" fmla="*/ 320 h 369"/>
                <a:gd name="T8" fmla="*/ 0 w 466"/>
                <a:gd name="T9" fmla="*/ 164 h 369"/>
                <a:gd name="T10" fmla="*/ 257 w 466"/>
                <a:gd name="T11" fmla="*/ 4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369">
                  <a:moveTo>
                    <a:pt x="257" y="4"/>
                  </a:moveTo>
                  <a:cubicBezTo>
                    <a:pt x="285" y="0"/>
                    <a:pt x="465" y="137"/>
                    <a:pt x="465" y="137"/>
                  </a:cubicBezTo>
                  <a:lnTo>
                    <a:pt x="399" y="337"/>
                  </a:lnTo>
                  <a:cubicBezTo>
                    <a:pt x="399" y="337"/>
                    <a:pt x="154" y="368"/>
                    <a:pt x="83" y="320"/>
                  </a:cubicBezTo>
                  <a:cubicBezTo>
                    <a:pt x="43" y="295"/>
                    <a:pt x="0" y="164"/>
                    <a:pt x="0" y="164"/>
                  </a:cubicBezTo>
                  <a:cubicBezTo>
                    <a:pt x="32" y="63"/>
                    <a:pt x="229" y="8"/>
                    <a:pt x="257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5" name="íSḷîḓé">
              <a:extLst>
                <a:ext uri="{FF2B5EF4-FFF2-40B4-BE49-F238E27FC236}">
                  <a16:creationId xmlns="" xmlns:a16="http://schemas.microsoft.com/office/drawing/2014/main" id="{5EDBFF94-F532-467D-9240-566F5BCAEAEC}"/>
                </a:ext>
              </a:extLst>
            </p:cNvPr>
            <p:cNvSpPr/>
            <p:nvPr/>
          </p:nvSpPr>
          <p:spPr bwMode="auto">
            <a:xfrm>
              <a:off x="528638" y="4718050"/>
              <a:ext cx="169862" cy="127000"/>
            </a:xfrm>
            <a:custGeom>
              <a:avLst/>
              <a:gdLst>
                <a:gd name="T0" fmla="*/ 396 w 471"/>
                <a:gd name="T1" fmla="*/ 335 h 353"/>
                <a:gd name="T2" fmla="*/ 461 w 471"/>
                <a:gd name="T3" fmla="*/ 139 h 353"/>
                <a:gd name="T4" fmla="*/ 260 w 471"/>
                <a:gd name="T5" fmla="*/ 7 h 353"/>
                <a:gd name="T6" fmla="*/ 260 w 471"/>
                <a:gd name="T7" fmla="*/ 8 h 353"/>
                <a:gd name="T8" fmla="*/ 8 w 471"/>
                <a:gd name="T9" fmla="*/ 165 h 353"/>
                <a:gd name="T10" fmla="*/ 88 w 471"/>
                <a:gd name="T11" fmla="*/ 319 h 353"/>
                <a:gd name="T12" fmla="*/ 239 w 471"/>
                <a:gd name="T13" fmla="*/ 344 h 353"/>
                <a:gd name="T14" fmla="*/ 396 w 471"/>
                <a:gd name="T15" fmla="*/ 335 h 353"/>
                <a:gd name="T16" fmla="*/ 260 w 471"/>
                <a:gd name="T17" fmla="*/ 0 h 353"/>
                <a:gd name="T18" fmla="*/ 468 w 471"/>
                <a:gd name="T19" fmla="*/ 134 h 353"/>
                <a:gd name="T20" fmla="*/ 470 w 471"/>
                <a:gd name="T21" fmla="*/ 139 h 353"/>
                <a:gd name="T22" fmla="*/ 403 w 471"/>
                <a:gd name="T23" fmla="*/ 340 h 353"/>
                <a:gd name="T24" fmla="*/ 400 w 471"/>
                <a:gd name="T25" fmla="*/ 342 h 353"/>
                <a:gd name="T26" fmla="*/ 239 w 471"/>
                <a:gd name="T27" fmla="*/ 352 h 353"/>
                <a:gd name="T28" fmla="*/ 84 w 471"/>
                <a:gd name="T29" fmla="*/ 326 h 353"/>
                <a:gd name="T30" fmla="*/ 0 w 471"/>
                <a:gd name="T31" fmla="*/ 166 h 353"/>
                <a:gd name="T32" fmla="*/ 0 w 471"/>
                <a:gd name="T33" fmla="*/ 164 h 353"/>
                <a:gd name="T34" fmla="*/ 258 w 471"/>
                <a:gd name="T35" fmla="*/ 0 h 353"/>
                <a:gd name="T36" fmla="*/ 260 w 471"/>
                <a:gd name="T3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1" h="353">
                  <a:moveTo>
                    <a:pt x="396" y="335"/>
                  </a:moveTo>
                  <a:lnTo>
                    <a:pt x="461" y="139"/>
                  </a:lnTo>
                  <a:cubicBezTo>
                    <a:pt x="411" y="101"/>
                    <a:pt x="284" y="7"/>
                    <a:pt x="260" y="7"/>
                  </a:cubicBezTo>
                  <a:cubicBezTo>
                    <a:pt x="260" y="7"/>
                    <a:pt x="260" y="7"/>
                    <a:pt x="260" y="8"/>
                  </a:cubicBezTo>
                  <a:cubicBezTo>
                    <a:pt x="234" y="12"/>
                    <a:pt x="40" y="65"/>
                    <a:pt x="8" y="165"/>
                  </a:cubicBezTo>
                  <a:cubicBezTo>
                    <a:pt x="12" y="178"/>
                    <a:pt x="52" y="295"/>
                    <a:pt x="88" y="319"/>
                  </a:cubicBezTo>
                  <a:cubicBezTo>
                    <a:pt x="114" y="336"/>
                    <a:pt x="165" y="344"/>
                    <a:pt x="239" y="344"/>
                  </a:cubicBezTo>
                  <a:cubicBezTo>
                    <a:pt x="312" y="344"/>
                    <a:pt x="382" y="336"/>
                    <a:pt x="396" y="335"/>
                  </a:cubicBezTo>
                  <a:close/>
                  <a:moveTo>
                    <a:pt x="260" y="0"/>
                  </a:moveTo>
                  <a:cubicBezTo>
                    <a:pt x="291" y="0"/>
                    <a:pt x="451" y="121"/>
                    <a:pt x="468" y="134"/>
                  </a:cubicBezTo>
                  <a:cubicBezTo>
                    <a:pt x="470" y="135"/>
                    <a:pt x="470" y="137"/>
                    <a:pt x="470" y="139"/>
                  </a:cubicBezTo>
                  <a:lnTo>
                    <a:pt x="403" y="340"/>
                  </a:lnTo>
                  <a:cubicBezTo>
                    <a:pt x="403" y="341"/>
                    <a:pt x="402" y="342"/>
                    <a:pt x="400" y="342"/>
                  </a:cubicBezTo>
                  <a:cubicBezTo>
                    <a:pt x="400" y="342"/>
                    <a:pt x="320" y="352"/>
                    <a:pt x="239" y="352"/>
                  </a:cubicBezTo>
                  <a:cubicBezTo>
                    <a:pt x="162" y="352"/>
                    <a:pt x="110" y="343"/>
                    <a:pt x="84" y="326"/>
                  </a:cubicBezTo>
                  <a:cubicBezTo>
                    <a:pt x="44" y="299"/>
                    <a:pt x="1" y="172"/>
                    <a:pt x="0" y="166"/>
                  </a:cubicBezTo>
                  <a:cubicBezTo>
                    <a:pt x="0" y="165"/>
                    <a:pt x="0" y="165"/>
                    <a:pt x="0" y="164"/>
                  </a:cubicBezTo>
                  <a:cubicBezTo>
                    <a:pt x="33" y="59"/>
                    <a:pt x="232" y="4"/>
                    <a:pt x="258" y="0"/>
                  </a:cubicBezTo>
                  <a:lnTo>
                    <a:pt x="260" y="0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6" name="îS1iḋe">
              <a:extLst>
                <a:ext uri="{FF2B5EF4-FFF2-40B4-BE49-F238E27FC236}">
                  <a16:creationId xmlns="" xmlns:a16="http://schemas.microsoft.com/office/drawing/2014/main" id="{33D81F41-27B7-474C-8C04-9BD8A987EEF8}"/>
                </a:ext>
              </a:extLst>
            </p:cNvPr>
            <p:cNvSpPr/>
            <p:nvPr/>
          </p:nvSpPr>
          <p:spPr bwMode="auto">
            <a:xfrm>
              <a:off x="735013" y="4852988"/>
              <a:ext cx="34925" cy="30162"/>
            </a:xfrm>
            <a:custGeom>
              <a:avLst/>
              <a:gdLst>
                <a:gd name="T0" fmla="*/ 81 w 97"/>
                <a:gd name="T1" fmla="*/ 7 h 82"/>
                <a:gd name="T2" fmla="*/ 89 w 97"/>
                <a:gd name="T3" fmla="*/ 67 h 82"/>
                <a:gd name="T4" fmla="*/ 37 w 97"/>
                <a:gd name="T5" fmla="*/ 69 h 82"/>
                <a:gd name="T6" fmla="*/ 81 w 97"/>
                <a:gd name="T7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82">
                  <a:moveTo>
                    <a:pt x="81" y="7"/>
                  </a:moveTo>
                  <a:cubicBezTo>
                    <a:pt x="96" y="15"/>
                    <a:pt x="96" y="61"/>
                    <a:pt x="89" y="67"/>
                  </a:cubicBezTo>
                  <a:cubicBezTo>
                    <a:pt x="71" y="81"/>
                    <a:pt x="37" y="69"/>
                    <a:pt x="37" y="69"/>
                  </a:cubicBezTo>
                  <a:cubicBezTo>
                    <a:pt x="0" y="39"/>
                    <a:pt x="65" y="0"/>
                    <a:pt x="81" y="7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7" name="ïṩḻíḍe">
              <a:extLst>
                <a:ext uri="{FF2B5EF4-FFF2-40B4-BE49-F238E27FC236}">
                  <a16:creationId xmlns="" xmlns:a16="http://schemas.microsoft.com/office/drawing/2014/main" id="{2D1D0FD8-65C1-4B53-987C-44D3F5CCF001}"/>
                </a:ext>
              </a:extLst>
            </p:cNvPr>
            <p:cNvSpPr/>
            <p:nvPr/>
          </p:nvSpPr>
          <p:spPr bwMode="auto">
            <a:xfrm>
              <a:off x="742950" y="4852988"/>
              <a:ext cx="30163" cy="26987"/>
            </a:xfrm>
            <a:custGeom>
              <a:avLst/>
              <a:gdLst>
                <a:gd name="T0" fmla="*/ 69 w 82"/>
                <a:gd name="T1" fmla="*/ 62 h 77"/>
                <a:gd name="T2" fmla="*/ 72 w 82"/>
                <a:gd name="T3" fmla="*/ 34 h 77"/>
                <a:gd name="T4" fmla="*/ 61 w 82"/>
                <a:gd name="T5" fmla="*/ 8 h 77"/>
                <a:gd name="T6" fmla="*/ 57 w 82"/>
                <a:gd name="T7" fmla="*/ 8 h 77"/>
                <a:gd name="T8" fmla="*/ 11 w 82"/>
                <a:gd name="T9" fmla="*/ 40 h 77"/>
                <a:gd name="T10" fmla="*/ 19 w 82"/>
                <a:gd name="T11" fmla="*/ 64 h 77"/>
                <a:gd name="T12" fmla="*/ 47 w 82"/>
                <a:gd name="T13" fmla="*/ 67 h 77"/>
                <a:gd name="T14" fmla="*/ 69 w 82"/>
                <a:gd name="T15" fmla="*/ 62 h 77"/>
                <a:gd name="T16" fmla="*/ 64 w 82"/>
                <a:gd name="T17" fmla="*/ 1 h 77"/>
                <a:gd name="T18" fmla="*/ 80 w 82"/>
                <a:gd name="T19" fmla="*/ 33 h 77"/>
                <a:gd name="T20" fmla="*/ 74 w 82"/>
                <a:gd name="T21" fmla="*/ 69 h 77"/>
                <a:gd name="T22" fmla="*/ 47 w 82"/>
                <a:gd name="T23" fmla="*/ 76 h 77"/>
                <a:gd name="T24" fmla="*/ 16 w 82"/>
                <a:gd name="T25" fmla="*/ 71 h 77"/>
                <a:gd name="T26" fmla="*/ 15 w 82"/>
                <a:gd name="T27" fmla="*/ 70 h 77"/>
                <a:gd name="T28" fmla="*/ 3 w 82"/>
                <a:gd name="T29" fmla="*/ 38 h 77"/>
                <a:gd name="T30" fmla="*/ 57 w 82"/>
                <a:gd name="T31" fmla="*/ 0 h 77"/>
                <a:gd name="T32" fmla="*/ 64 w 82"/>
                <a:gd name="T33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77">
                  <a:moveTo>
                    <a:pt x="69" y="62"/>
                  </a:moveTo>
                  <a:cubicBezTo>
                    <a:pt x="70" y="60"/>
                    <a:pt x="74" y="50"/>
                    <a:pt x="72" y="34"/>
                  </a:cubicBezTo>
                  <a:cubicBezTo>
                    <a:pt x="70" y="21"/>
                    <a:pt x="67" y="12"/>
                    <a:pt x="61" y="8"/>
                  </a:cubicBezTo>
                  <a:cubicBezTo>
                    <a:pt x="61" y="8"/>
                    <a:pt x="60" y="8"/>
                    <a:pt x="57" y="8"/>
                  </a:cubicBezTo>
                  <a:cubicBezTo>
                    <a:pt x="44" y="8"/>
                    <a:pt x="17" y="24"/>
                    <a:pt x="11" y="40"/>
                  </a:cubicBezTo>
                  <a:cubicBezTo>
                    <a:pt x="7" y="50"/>
                    <a:pt x="10" y="57"/>
                    <a:pt x="19" y="64"/>
                  </a:cubicBezTo>
                  <a:cubicBezTo>
                    <a:pt x="22" y="64"/>
                    <a:pt x="34" y="67"/>
                    <a:pt x="47" y="67"/>
                  </a:cubicBezTo>
                  <a:cubicBezTo>
                    <a:pt x="56" y="67"/>
                    <a:pt x="63" y="66"/>
                    <a:pt x="69" y="62"/>
                  </a:cubicBezTo>
                  <a:close/>
                  <a:moveTo>
                    <a:pt x="64" y="1"/>
                  </a:moveTo>
                  <a:cubicBezTo>
                    <a:pt x="75" y="7"/>
                    <a:pt x="79" y="24"/>
                    <a:pt x="80" y="33"/>
                  </a:cubicBezTo>
                  <a:cubicBezTo>
                    <a:pt x="81" y="46"/>
                    <a:pt x="80" y="64"/>
                    <a:pt x="74" y="69"/>
                  </a:cubicBezTo>
                  <a:cubicBezTo>
                    <a:pt x="67" y="73"/>
                    <a:pt x="57" y="76"/>
                    <a:pt x="47" y="76"/>
                  </a:cubicBezTo>
                  <a:cubicBezTo>
                    <a:pt x="31" y="76"/>
                    <a:pt x="16" y="71"/>
                    <a:pt x="16" y="71"/>
                  </a:cubicBezTo>
                  <a:cubicBezTo>
                    <a:pt x="15" y="71"/>
                    <a:pt x="15" y="71"/>
                    <a:pt x="15" y="70"/>
                  </a:cubicBezTo>
                  <a:cubicBezTo>
                    <a:pt x="0" y="59"/>
                    <a:pt x="0" y="46"/>
                    <a:pt x="3" y="38"/>
                  </a:cubicBezTo>
                  <a:cubicBezTo>
                    <a:pt x="10" y="17"/>
                    <a:pt x="42" y="0"/>
                    <a:pt x="57" y="0"/>
                  </a:cubicBezTo>
                  <a:cubicBezTo>
                    <a:pt x="61" y="0"/>
                    <a:pt x="63" y="0"/>
                    <a:pt x="64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8" name="išlîḑé">
              <a:extLst>
                <a:ext uri="{FF2B5EF4-FFF2-40B4-BE49-F238E27FC236}">
                  <a16:creationId xmlns="" xmlns:a16="http://schemas.microsoft.com/office/drawing/2014/main" id="{3846FCCF-0BF9-442B-8849-30E1D2303232}"/>
                </a:ext>
              </a:extLst>
            </p:cNvPr>
            <p:cNvSpPr/>
            <p:nvPr/>
          </p:nvSpPr>
          <p:spPr bwMode="auto">
            <a:xfrm>
              <a:off x="622300" y="4789488"/>
              <a:ext cx="168275" cy="127000"/>
            </a:xfrm>
            <a:custGeom>
              <a:avLst/>
              <a:gdLst>
                <a:gd name="T0" fmla="*/ 375 w 466"/>
                <a:gd name="T1" fmla="*/ 0 h 353"/>
                <a:gd name="T2" fmla="*/ 463 w 466"/>
                <a:gd name="T3" fmla="*/ 49 h 353"/>
                <a:gd name="T4" fmla="*/ 367 w 466"/>
                <a:gd name="T5" fmla="*/ 228 h 353"/>
                <a:gd name="T6" fmla="*/ 273 w 466"/>
                <a:gd name="T7" fmla="*/ 351 h 353"/>
                <a:gd name="T8" fmla="*/ 7 w 466"/>
                <a:gd name="T9" fmla="*/ 224 h 353"/>
                <a:gd name="T10" fmla="*/ 0 w 466"/>
                <a:gd name="T11" fmla="*/ 232 h 353"/>
                <a:gd name="T12" fmla="*/ 13 w 466"/>
                <a:gd name="T13" fmla="*/ 214 h 353"/>
                <a:gd name="T14" fmla="*/ 257 w 466"/>
                <a:gd name="T15" fmla="*/ 329 h 353"/>
                <a:gd name="T16" fmla="*/ 345 w 466"/>
                <a:gd name="T17" fmla="*/ 189 h 353"/>
                <a:gd name="T18" fmla="*/ 443 w 466"/>
                <a:gd name="T19" fmla="*/ 43 h 353"/>
                <a:gd name="T20" fmla="*/ 373 w 466"/>
                <a:gd name="T21" fmla="*/ 13 h 353"/>
                <a:gd name="T22" fmla="*/ 375 w 466"/>
                <a:gd name="T23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6" h="353">
                  <a:moveTo>
                    <a:pt x="375" y="0"/>
                  </a:moveTo>
                  <a:cubicBezTo>
                    <a:pt x="375" y="0"/>
                    <a:pt x="465" y="25"/>
                    <a:pt x="463" y="49"/>
                  </a:cubicBezTo>
                  <a:cubicBezTo>
                    <a:pt x="452" y="143"/>
                    <a:pt x="384" y="183"/>
                    <a:pt x="367" y="228"/>
                  </a:cubicBezTo>
                  <a:cubicBezTo>
                    <a:pt x="339" y="300"/>
                    <a:pt x="306" y="349"/>
                    <a:pt x="273" y="351"/>
                  </a:cubicBezTo>
                  <a:cubicBezTo>
                    <a:pt x="240" y="352"/>
                    <a:pt x="7" y="224"/>
                    <a:pt x="7" y="224"/>
                  </a:cubicBezTo>
                  <a:lnTo>
                    <a:pt x="0" y="232"/>
                  </a:lnTo>
                  <a:lnTo>
                    <a:pt x="13" y="214"/>
                  </a:lnTo>
                  <a:lnTo>
                    <a:pt x="257" y="329"/>
                  </a:lnTo>
                  <a:cubicBezTo>
                    <a:pt x="229" y="266"/>
                    <a:pt x="344" y="197"/>
                    <a:pt x="345" y="189"/>
                  </a:cubicBezTo>
                  <a:cubicBezTo>
                    <a:pt x="365" y="78"/>
                    <a:pt x="443" y="43"/>
                    <a:pt x="443" y="43"/>
                  </a:cubicBezTo>
                  <a:lnTo>
                    <a:pt x="373" y="13"/>
                  </a:lnTo>
                  <a:lnTo>
                    <a:pt x="375" y="0"/>
                  </a:lnTo>
                </a:path>
              </a:pathLst>
            </a:custGeom>
            <a:solidFill>
              <a:srgbClr val="B9E5FB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39" name="íSḷiḑé">
              <a:extLst>
                <a:ext uri="{FF2B5EF4-FFF2-40B4-BE49-F238E27FC236}">
                  <a16:creationId xmlns="" xmlns:a16="http://schemas.microsoft.com/office/drawing/2014/main" id="{F6596097-6ADC-460F-BE77-C66A2B3CCDDE}"/>
                </a:ext>
              </a:extLst>
            </p:cNvPr>
            <p:cNvSpPr/>
            <p:nvPr/>
          </p:nvSpPr>
          <p:spPr bwMode="auto">
            <a:xfrm>
              <a:off x="622300" y="4786313"/>
              <a:ext cx="171450" cy="128587"/>
            </a:xfrm>
            <a:custGeom>
              <a:avLst/>
              <a:gdLst>
                <a:gd name="T0" fmla="*/ 464 w 477"/>
                <a:gd name="T1" fmla="*/ 52 h 358"/>
                <a:gd name="T2" fmla="*/ 383 w 477"/>
                <a:gd name="T3" fmla="*/ 9 h 358"/>
                <a:gd name="T4" fmla="*/ 383 w 477"/>
                <a:gd name="T5" fmla="*/ 15 h 358"/>
                <a:gd name="T6" fmla="*/ 450 w 477"/>
                <a:gd name="T7" fmla="*/ 44 h 358"/>
                <a:gd name="T8" fmla="*/ 452 w 477"/>
                <a:gd name="T9" fmla="*/ 47 h 358"/>
                <a:gd name="T10" fmla="*/ 450 w 477"/>
                <a:gd name="T11" fmla="*/ 51 h 358"/>
                <a:gd name="T12" fmla="*/ 354 w 477"/>
                <a:gd name="T13" fmla="*/ 193 h 358"/>
                <a:gd name="T14" fmla="*/ 339 w 477"/>
                <a:gd name="T15" fmla="*/ 209 h 358"/>
                <a:gd name="T16" fmla="*/ 265 w 477"/>
                <a:gd name="T17" fmla="*/ 330 h 358"/>
                <a:gd name="T18" fmla="*/ 264 w 477"/>
                <a:gd name="T19" fmla="*/ 335 h 358"/>
                <a:gd name="T20" fmla="*/ 261 w 477"/>
                <a:gd name="T21" fmla="*/ 335 h 358"/>
                <a:gd name="T22" fmla="*/ 18 w 477"/>
                <a:gd name="T23" fmla="*/ 222 h 358"/>
                <a:gd name="T24" fmla="*/ 16 w 477"/>
                <a:gd name="T25" fmla="*/ 226 h 358"/>
                <a:gd name="T26" fmla="*/ 277 w 477"/>
                <a:gd name="T27" fmla="*/ 349 h 358"/>
                <a:gd name="T28" fmla="*/ 369 w 477"/>
                <a:gd name="T29" fmla="*/ 231 h 358"/>
                <a:gd name="T30" fmla="*/ 401 w 477"/>
                <a:gd name="T31" fmla="*/ 181 h 358"/>
                <a:gd name="T32" fmla="*/ 464 w 477"/>
                <a:gd name="T33" fmla="*/ 52 h 358"/>
                <a:gd name="T34" fmla="*/ 380 w 477"/>
                <a:gd name="T35" fmla="*/ 0 h 358"/>
                <a:gd name="T36" fmla="*/ 472 w 477"/>
                <a:gd name="T37" fmla="*/ 53 h 358"/>
                <a:gd name="T38" fmla="*/ 407 w 477"/>
                <a:gd name="T39" fmla="*/ 185 h 358"/>
                <a:gd name="T40" fmla="*/ 376 w 477"/>
                <a:gd name="T41" fmla="*/ 233 h 358"/>
                <a:gd name="T42" fmla="*/ 278 w 477"/>
                <a:gd name="T43" fmla="*/ 357 h 358"/>
                <a:gd name="T44" fmla="*/ 277 w 477"/>
                <a:gd name="T45" fmla="*/ 357 h 358"/>
                <a:gd name="T46" fmla="*/ 11 w 477"/>
                <a:gd name="T47" fmla="*/ 233 h 358"/>
                <a:gd name="T48" fmla="*/ 7 w 477"/>
                <a:gd name="T49" fmla="*/ 238 h 358"/>
                <a:gd name="T50" fmla="*/ 3 w 477"/>
                <a:gd name="T51" fmla="*/ 239 h 358"/>
                <a:gd name="T52" fmla="*/ 2 w 477"/>
                <a:gd name="T53" fmla="*/ 233 h 358"/>
                <a:gd name="T54" fmla="*/ 13 w 477"/>
                <a:gd name="T55" fmla="*/ 215 h 358"/>
                <a:gd name="T56" fmla="*/ 18 w 477"/>
                <a:gd name="T57" fmla="*/ 214 h 358"/>
                <a:gd name="T58" fmla="*/ 255 w 477"/>
                <a:gd name="T59" fmla="*/ 325 h 358"/>
                <a:gd name="T60" fmla="*/ 333 w 477"/>
                <a:gd name="T61" fmla="*/ 203 h 358"/>
                <a:gd name="T62" fmla="*/ 347 w 477"/>
                <a:gd name="T63" fmla="*/ 191 h 358"/>
                <a:gd name="T64" fmla="*/ 440 w 477"/>
                <a:gd name="T65" fmla="*/ 47 h 358"/>
                <a:gd name="T66" fmla="*/ 377 w 477"/>
                <a:gd name="T67" fmla="*/ 22 h 358"/>
                <a:gd name="T68" fmla="*/ 375 w 477"/>
                <a:gd name="T69" fmla="*/ 17 h 358"/>
                <a:gd name="T70" fmla="*/ 376 w 477"/>
                <a:gd name="T71" fmla="*/ 3 h 358"/>
                <a:gd name="T72" fmla="*/ 378 w 477"/>
                <a:gd name="T73" fmla="*/ 1 h 358"/>
                <a:gd name="T74" fmla="*/ 380 w 477"/>
                <a:gd name="T7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7" h="358">
                  <a:moveTo>
                    <a:pt x="464" y="52"/>
                  </a:moveTo>
                  <a:cubicBezTo>
                    <a:pt x="466" y="39"/>
                    <a:pt x="419" y="19"/>
                    <a:pt x="383" y="9"/>
                  </a:cubicBezTo>
                  <a:lnTo>
                    <a:pt x="383" y="15"/>
                  </a:lnTo>
                  <a:lnTo>
                    <a:pt x="450" y="44"/>
                  </a:lnTo>
                  <a:cubicBezTo>
                    <a:pt x="451" y="44"/>
                    <a:pt x="452" y="45"/>
                    <a:pt x="452" y="47"/>
                  </a:cubicBezTo>
                  <a:cubicBezTo>
                    <a:pt x="452" y="48"/>
                    <a:pt x="451" y="50"/>
                    <a:pt x="450" y="51"/>
                  </a:cubicBezTo>
                  <a:cubicBezTo>
                    <a:pt x="449" y="51"/>
                    <a:pt x="373" y="87"/>
                    <a:pt x="354" y="193"/>
                  </a:cubicBezTo>
                  <a:cubicBezTo>
                    <a:pt x="354" y="196"/>
                    <a:pt x="350" y="199"/>
                    <a:pt x="339" y="209"/>
                  </a:cubicBezTo>
                  <a:cubicBezTo>
                    <a:pt x="308" y="233"/>
                    <a:pt x="246" y="284"/>
                    <a:pt x="265" y="330"/>
                  </a:cubicBezTo>
                  <a:cubicBezTo>
                    <a:pt x="266" y="332"/>
                    <a:pt x="265" y="334"/>
                    <a:pt x="264" y="335"/>
                  </a:cubicBezTo>
                  <a:cubicBezTo>
                    <a:pt x="263" y="335"/>
                    <a:pt x="262" y="336"/>
                    <a:pt x="261" y="335"/>
                  </a:cubicBezTo>
                  <a:lnTo>
                    <a:pt x="18" y="222"/>
                  </a:lnTo>
                  <a:lnTo>
                    <a:pt x="16" y="226"/>
                  </a:lnTo>
                  <a:cubicBezTo>
                    <a:pt x="82" y="262"/>
                    <a:pt x="248" y="349"/>
                    <a:pt x="277" y="349"/>
                  </a:cubicBezTo>
                  <a:cubicBezTo>
                    <a:pt x="307" y="348"/>
                    <a:pt x="339" y="305"/>
                    <a:pt x="369" y="231"/>
                  </a:cubicBezTo>
                  <a:cubicBezTo>
                    <a:pt x="375" y="213"/>
                    <a:pt x="387" y="198"/>
                    <a:pt x="401" y="181"/>
                  </a:cubicBezTo>
                  <a:cubicBezTo>
                    <a:pt x="426" y="151"/>
                    <a:pt x="457" y="112"/>
                    <a:pt x="464" y="52"/>
                  </a:cubicBezTo>
                  <a:close/>
                  <a:moveTo>
                    <a:pt x="380" y="0"/>
                  </a:moveTo>
                  <a:cubicBezTo>
                    <a:pt x="397" y="4"/>
                    <a:pt x="476" y="28"/>
                    <a:pt x="472" y="53"/>
                  </a:cubicBezTo>
                  <a:cubicBezTo>
                    <a:pt x="464" y="116"/>
                    <a:pt x="433" y="155"/>
                    <a:pt x="407" y="185"/>
                  </a:cubicBezTo>
                  <a:cubicBezTo>
                    <a:pt x="393" y="203"/>
                    <a:pt x="381" y="218"/>
                    <a:pt x="376" y="233"/>
                  </a:cubicBezTo>
                  <a:cubicBezTo>
                    <a:pt x="354" y="289"/>
                    <a:pt x="320" y="355"/>
                    <a:pt x="278" y="357"/>
                  </a:cubicBezTo>
                  <a:lnTo>
                    <a:pt x="277" y="357"/>
                  </a:lnTo>
                  <a:cubicBezTo>
                    <a:pt x="242" y="357"/>
                    <a:pt x="39" y="247"/>
                    <a:pt x="11" y="233"/>
                  </a:cubicBezTo>
                  <a:lnTo>
                    <a:pt x="7" y="238"/>
                  </a:lnTo>
                  <a:cubicBezTo>
                    <a:pt x="6" y="240"/>
                    <a:pt x="4" y="240"/>
                    <a:pt x="3" y="239"/>
                  </a:cubicBezTo>
                  <a:cubicBezTo>
                    <a:pt x="0" y="238"/>
                    <a:pt x="0" y="235"/>
                    <a:pt x="2" y="233"/>
                  </a:cubicBezTo>
                  <a:lnTo>
                    <a:pt x="13" y="215"/>
                  </a:lnTo>
                  <a:cubicBezTo>
                    <a:pt x="14" y="214"/>
                    <a:pt x="16" y="213"/>
                    <a:pt x="18" y="214"/>
                  </a:cubicBezTo>
                  <a:lnTo>
                    <a:pt x="255" y="325"/>
                  </a:lnTo>
                  <a:cubicBezTo>
                    <a:pt x="243" y="276"/>
                    <a:pt x="304" y="227"/>
                    <a:pt x="333" y="203"/>
                  </a:cubicBezTo>
                  <a:cubicBezTo>
                    <a:pt x="340" y="198"/>
                    <a:pt x="345" y="192"/>
                    <a:pt x="347" y="191"/>
                  </a:cubicBezTo>
                  <a:cubicBezTo>
                    <a:pt x="363" y="101"/>
                    <a:pt x="419" y="60"/>
                    <a:pt x="440" y="47"/>
                  </a:cubicBezTo>
                  <a:lnTo>
                    <a:pt x="377" y="22"/>
                  </a:lnTo>
                  <a:cubicBezTo>
                    <a:pt x="375" y="21"/>
                    <a:pt x="373" y="18"/>
                    <a:pt x="375" y="17"/>
                  </a:cubicBezTo>
                  <a:lnTo>
                    <a:pt x="376" y="3"/>
                  </a:lnTo>
                  <a:cubicBezTo>
                    <a:pt x="376" y="2"/>
                    <a:pt x="377" y="1"/>
                    <a:pt x="378" y="1"/>
                  </a:cubicBezTo>
                  <a:cubicBezTo>
                    <a:pt x="379" y="0"/>
                    <a:pt x="380" y="0"/>
                    <a:pt x="380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0" name="îsḷïdê">
              <a:extLst>
                <a:ext uri="{FF2B5EF4-FFF2-40B4-BE49-F238E27FC236}">
                  <a16:creationId xmlns="" xmlns:a16="http://schemas.microsoft.com/office/drawing/2014/main" id="{1AE9D5F8-6DA3-45C2-97DD-A0BD49B0C83C}"/>
                </a:ext>
              </a:extLst>
            </p:cNvPr>
            <p:cNvSpPr/>
            <p:nvPr/>
          </p:nvSpPr>
          <p:spPr bwMode="auto">
            <a:xfrm>
              <a:off x="714375" y="4865688"/>
              <a:ext cx="39688" cy="44450"/>
            </a:xfrm>
            <a:custGeom>
              <a:avLst/>
              <a:gdLst>
                <a:gd name="T0" fmla="*/ 84 w 112"/>
                <a:gd name="T1" fmla="*/ 8 h 123"/>
                <a:gd name="T2" fmla="*/ 22 w 112"/>
                <a:gd name="T3" fmla="*/ 107 h 123"/>
                <a:gd name="T4" fmla="*/ 84 w 112"/>
                <a:gd name="T5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123">
                  <a:moveTo>
                    <a:pt x="84" y="8"/>
                  </a:moveTo>
                  <a:cubicBezTo>
                    <a:pt x="111" y="16"/>
                    <a:pt x="41" y="122"/>
                    <a:pt x="22" y="107"/>
                  </a:cubicBezTo>
                  <a:cubicBezTo>
                    <a:pt x="0" y="90"/>
                    <a:pt x="56" y="0"/>
                    <a:pt x="8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1" name="iS1ïḋé">
              <a:extLst>
                <a:ext uri="{FF2B5EF4-FFF2-40B4-BE49-F238E27FC236}">
                  <a16:creationId xmlns="" xmlns:a16="http://schemas.microsoft.com/office/drawing/2014/main" id="{085ECD80-BFCC-4485-961C-CF6B7998D46C}"/>
                </a:ext>
              </a:extLst>
            </p:cNvPr>
            <p:cNvSpPr/>
            <p:nvPr/>
          </p:nvSpPr>
          <p:spPr bwMode="auto">
            <a:xfrm>
              <a:off x="719138" y="4867275"/>
              <a:ext cx="31750" cy="38100"/>
            </a:xfrm>
            <a:custGeom>
              <a:avLst/>
              <a:gdLst>
                <a:gd name="T0" fmla="*/ 76 w 87"/>
                <a:gd name="T1" fmla="*/ 17 h 107"/>
                <a:gd name="T2" fmla="*/ 73 w 87"/>
                <a:gd name="T3" fmla="*/ 8 h 107"/>
                <a:gd name="T4" fmla="*/ 70 w 87"/>
                <a:gd name="T5" fmla="*/ 8 h 107"/>
                <a:gd name="T6" fmla="*/ 14 w 87"/>
                <a:gd name="T7" fmla="*/ 71 h 107"/>
                <a:gd name="T8" fmla="*/ 14 w 87"/>
                <a:gd name="T9" fmla="*/ 98 h 107"/>
                <a:gd name="T10" fmla="*/ 16 w 87"/>
                <a:gd name="T11" fmla="*/ 98 h 107"/>
                <a:gd name="T12" fmla="*/ 76 w 87"/>
                <a:gd name="T13" fmla="*/ 17 h 107"/>
                <a:gd name="T14" fmla="*/ 75 w 87"/>
                <a:gd name="T15" fmla="*/ 1 h 107"/>
                <a:gd name="T16" fmla="*/ 83 w 87"/>
                <a:gd name="T17" fmla="*/ 18 h 107"/>
                <a:gd name="T18" fmla="*/ 16 w 87"/>
                <a:gd name="T19" fmla="*/ 106 h 107"/>
                <a:gd name="T20" fmla="*/ 9 w 87"/>
                <a:gd name="T21" fmla="*/ 104 h 107"/>
                <a:gd name="T22" fmla="*/ 7 w 87"/>
                <a:gd name="T23" fmla="*/ 69 h 107"/>
                <a:gd name="T24" fmla="*/ 70 w 87"/>
                <a:gd name="T25" fmla="*/ 0 h 107"/>
                <a:gd name="T26" fmla="*/ 75 w 87"/>
                <a:gd name="T27" fmla="*/ 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07">
                  <a:moveTo>
                    <a:pt x="76" y="17"/>
                  </a:moveTo>
                  <a:cubicBezTo>
                    <a:pt x="77" y="9"/>
                    <a:pt x="74" y="8"/>
                    <a:pt x="73" y="8"/>
                  </a:cubicBezTo>
                  <a:cubicBezTo>
                    <a:pt x="72" y="8"/>
                    <a:pt x="70" y="8"/>
                    <a:pt x="70" y="8"/>
                  </a:cubicBezTo>
                  <a:cubicBezTo>
                    <a:pt x="53" y="8"/>
                    <a:pt x="23" y="44"/>
                    <a:pt x="14" y="71"/>
                  </a:cubicBezTo>
                  <a:cubicBezTo>
                    <a:pt x="9" y="85"/>
                    <a:pt x="9" y="94"/>
                    <a:pt x="14" y="98"/>
                  </a:cubicBezTo>
                  <a:cubicBezTo>
                    <a:pt x="15" y="98"/>
                    <a:pt x="15" y="98"/>
                    <a:pt x="16" y="98"/>
                  </a:cubicBezTo>
                  <a:cubicBezTo>
                    <a:pt x="30" y="98"/>
                    <a:pt x="72" y="46"/>
                    <a:pt x="76" y="17"/>
                  </a:cubicBezTo>
                  <a:close/>
                  <a:moveTo>
                    <a:pt x="75" y="1"/>
                  </a:moveTo>
                  <a:cubicBezTo>
                    <a:pt x="79" y="2"/>
                    <a:pt x="86" y="6"/>
                    <a:pt x="83" y="18"/>
                  </a:cubicBezTo>
                  <a:cubicBezTo>
                    <a:pt x="80" y="47"/>
                    <a:pt x="36" y="106"/>
                    <a:pt x="16" y="106"/>
                  </a:cubicBezTo>
                  <a:cubicBezTo>
                    <a:pt x="14" y="106"/>
                    <a:pt x="12" y="105"/>
                    <a:pt x="9" y="104"/>
                  </a:cubicBezTo>
                  <a:cubicBezTo>
                    <a:pt x="1" y="98"/>
                    <a:pt x="0" y="86"/>
                    <a:pt x="7" y="69"/>
                  </a:cubicBezTo>
                  <a:cubicBezTo>
                    <a:pt x="16" y="41"/>
                    <a:pt x="47" y="0"/>
                    <a:pt x="70" y="0"/>
                  </a:cubicBezTo>
                  <a:cubicBezTo>
                    <a:pt x="72" y="0"/>
                    <a:pt x="73" y="0"/>
                    <a:pt x="75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2" name="ïṧ1ïďê">
              <a:extLst>
                <a:ext uri="{FF2B5EF4-FFF2-40B4-BE49-F238E27FC236}">
                  <a16:creationId xmlns="" xmlns:a16="http://schemas.microsoft.com/office/drawing/2014/main" id="{0F17899B-1410-4631-8D13-534BC66E841C}"/>
                </a:ext>
              </a:extLst>
            </p:cNvPr>
            <p:cNvSpPr/>
            <p:nvPr/>
          </p:nvSpPr>
          <p:spPr bwMode="auto">
            <a:xfrm>
              <a:off x="750888" y="4806950"/>
              <a:ext cx="39687" cy="44450"/>
            </a:xfrm>
            <a:custGeom>
              <a:avLst/>
              <a:gdLst>
                <a:gd name="T0" fmla="*/ 84 w 112"/>
                <a:gd name="T1" fmla="*/ 8 h 123"/>
                <a:gd name="T2" fmla="*/ 23 w 112"/>
                <a:gd name="T3" fmla="*/ 109 h 123"/>
                <a:gd name="T4" fmla="*/ 84 w 112"/>
                <a:gd name="T5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123">
                  <a:moveTo>
                    <a:pt x="84" y="8"/>
                  </a:moveTo>
                  <a:cubicBezTo>
                    <a:pt x="111" y="17"/>
                    <a:pt x="41" y="122"/>
                    <a:pt x="23" y="109"/>
                  </a:cubicBezTo>
                  <a:cubicBezTo>
                    <a:pt x="0" y="90"/>
                    <a:pt x="56" y="0"/>
                    <a:pt x="84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3" name="ïśľïde">
              <a:extLst>
                <a:ext uri="{FF2B5EF4-FFF2-40B4-BE49-F238E27FC236}">
                  <a16:creationId xmlns="" xmlns:a16="http://schemas.microsoft.com/office/drawing/2014/main" id="{F165403E-BE49-4DF2-BEB9-8FDAA50ECF4E}"/>
                </a:ext>
              </a:extLst>
            </p:cNvPr>
            <p:cNvSpPr/>
            <p:nvPr/>
          </p:nvSpPr>
          <p:spPr bwMode="auto">
            <a:xfrm>
              <a:off x="757238" y="4808538"/>
              <a:ext cx="31750" cy="38100"/>
            </a:xfrm>
            <a:custGeom>
              <a:avLst/>
              <a:gdLst>
                <a:gd name="T0" fmla="*/ 77 w 87"/>
                <a:gd name="T1" fmla="*/ 18 h 108"/>
                <a:gd name="T2" fmla="*/ 73 w 87"/>
                <a:gd name="T3" fmla="*/ 8 h 108"/>
                <a:gd name="T4" fmla="*/ 71 w 87"/>
                <a:gd name="T5" fmla="*/ 8 h 108"/>
                <a:gd name="T6" fmla="*/ 13 w 87"/>
                <a:gd name="T7" fmla="*/ 72 h 108"/>
                <a:gd name="T8" fmla="*/ 15 w 87"/>
                <a:gd name="T9" fmla="*/ 99 h 108"/>
                <a:gd name="T10" fmla="*/ 16 w 87"/>
                <a:gd name="T11" fmla="*/ 99 h 108"/>
                <a:gd name="T12" fmla="*/ 77 w 87"/>
                <a:gd name="T13" fmla="*/ 18 h 108"/>
                <a:gd name="T14" fmla="*/ 75 w 87"/>
                <a:gd name="T15" fmla="*/ 1 h 108"/>
                <a:gd name="T16" fmla="*/ 85 w 87"/>
                <a:gd name="T17" fmla="*/ 20 h 108"/>
                <a:gd name="T18" fmla="*/ 16 w 87"/>
                <a:gd name="T19" fmla="*/ 107 h 108"/>
                <a:gd name="T20" fmla="*/ 10 w 87"/>
                <a:gd name="T21" fmla="*/ 104 h 108"/>
                <a:gd name="T22" fmla="*/ 6 w 87"/>
                <a:gd name="T23" fmla="*/ 69 h 108"/>
                <a:gd name="T24" fmla="*/ 71 w 87"/>
                <a:gd name="T25" fmla="*/ 0 h 108"/>
                <a:gd name="T26" fmla="*/ 75 w 87"/>
                <a:gd name="T27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08">
                  <a:moveTo>
                    <a:pt x="77" y="18"/>
                  </a:moveTo>
                  <a:cubicBezTo>
                    <a:pt x="78" y="9"/>
                    <a:pt x="74" y="8"/>
                    <a:pt x="73" y="8"/>
                  </a:cubicBezTo>
                  <a:cubicBezTo>
                    <a:pt x="72" y="8"/>
                    <a:pt x="72" y="8"/>
                    <a:pt x="71" y="8"/>
                  </a:cubicBezTo>
                  <a:cubicBezTo>
                    <a:pt x="53" y="8"/>
                    <a:pt x="24" y="44"/>
                    <a:pt x="13" y="72"/>
                  </a:cubicBezTo>
                  <a:cubicBezTo>
                    <a:pt x="9" y="85"/>
                    <a:pt x="9" y="95"/>
                    <a:pt x="15" y="99"/>
                  </a:cubicBezTo>
                  <a:cubicBezTo>
                    <a:pt x="15" y="99"/>
                    <a:pt x="15" y="99"/>
                    <a:pt x="16" y="99"/>
                  </a:cubicBezTo>
                  <a:cubicBezTo>
                    <a:pt x="30" y="99"/>
                    <a:pt x="73" y="46"/>
                    <a:pt x="77" y="18"/>
                  </a:cubicBezTo>
                  <a:close/>
                  <a:moveTo>
                    <a:pt x="75" y="1"/>
                  </a:moveTo>
                  <a:cubicBezTo>
                    <a:pt x="80" y="2"/>
                    <a:pt x="86" y="6"/>
                    <a:pt x="85" y="20"/>
                  </a:cubicBezTo>
                  <a:cubicBezTo>
                    <a:pt x="80" y="47"/>
                    <a:pt x="36" y="107"/>
                    <a:pt x="16" y="107"/>
                  </a:cubicBezTo>
                  <a:cubicBezTo>
                    <a:pt x="13" y="107"/>
                    <a:pt x="11" y="105"/>
                    <a:pt x="10" y="104"/>
                  </a:cubicBezTo>
                  <a:cubicBezTo>
                    <a:pt x="2" y="99"/>
                    <a:pt x="0" y="86"/>
                    <a:pt x="6" y="69"/>
                  </a:cubicBezTo>
                  <a:cubicBezTo>
                    <a:pt x="16" y="41"/>
                    <a:pt x="47" y="0"/>
                    <a:pt x="71" y="0"/>
                  </a:cubicBezTo>
                  <a:cubicBezTo>
                    <a:pt x="72" y="0"/>
                    <a:pt x="74" y="0"/>
                    <a:pt x="75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4" name="iŝľiḍé">
              <a:extLst>
                <a:ext uri="{FF2B5EF4-FFF2-40B4-BE49-F238E27FC236}">
                  <a16:creationId xmlns="" xmlns:a16="http://schemas.microsoft.com/office/drawing/2014/main" id="{429367EB-4D20-488A-ACED-357DA41C0D08}"/>
                </a:ext>
              </a:extLst>
            </p:cNvPr>
            <p:cNvSpPr/>
            <p:nvPr/>
          </p:nvSpPr>
          <p:spPr bwMode="auto">
            <a:xfrm>
              <a:off x="615950" y="4733925"/>
              <a:ext cx="168275" cy="163513"/>
            </a:xfrm>
            <a:custGeom>
              <a:avLst/>
              <a:gdLst>
                <a:gd name="T0" fmla="*/ 272 w 466"/>
                <a:gd name="T1" fmla="*/ 3 h 456"/>
                <a:gd name="T2" fmla="*/ 421 w 466"/>
                <a:gd name="T3" fmla="*/ 122 h 456"/>
                <a:gd name="T4" fmla="*/ 428 w 466"/>
                <a:gd name="T5" fmla="*/ 311 h 456"/>
                <a:gd name="T6" fmla="*/ 376 w 466"/>
                <a:gd name="T7" fmla="*/ 392 h 456"/>
                <a:gd name="T8" fmla="*/ 252 w 466"/>
                <a:gd name="T9" fmla="*/ 453 h 456"/>
                <a:gd name="T10" fmla="*/ 21 w 466"/>
                <a:gd name="T11" fmla="*/ 367 h 456"/>
                <a:gd name="T12" fmla="*/ 3 w 466"/>
                <a:gd name="T13" fmla="*/ 149 h 456"/>
                <a:gd name="T14" fmla="*/ 90 w 466"/>
                <a:gd name="T15" fmla="*/ 28 h 456"/>
                <a:gd name="T16" fmla="*/ 272 w 466"/>
                <a:gd name="T17" fmla="*/ 3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6" h="456">
                  <a:moveTo>
                    <a:pt x="272" y="3"/>
                  </a:moveTo>
                  <a:cubicBezTo>
                    <a:pt x="280" y="0"/>
                    <a:pt x="407" y="104"/>
                    <a:pt x="421" y="122"/>
                  </a:cubicBezTo>
                  <a:cubicBezTo>
                    <a:pt x="434" y="139"/>
                    <a:pt x="465" y="228"/>
                    <a:pt x="428" y="311"/>
                  </a:cubicBezTo>
                  <a:cubicBezTo>
                    <a:pt x="415" y="340"/>
                    <a:pt x="391" y="374"/>
                    <a:pt x="376" y="392"/>
                  </a:cubicBezTo>
                  <a:cubicBezTo>
                    <a:pt x="360" y="410"/>
                    <a:pt x="295" y="455"/>
                    <a:pt x="252" y="453"/>
                  </a:cubicBezTo>
                  <a:cubicBezTo>
                    <a:pt x="209" y="450"/>
                    <a:pt x="21" y="367"/>
                    <a:pt x="21" y="367"/>
                  </a:cubicBezTo>
                  <a:cubicBezTo>
                    <a:pt x="21" y="367"/>
                    <a:pt x="8" y="184"/>
                    <a:pt x="3" y="149"/>
                  </a:cubicBezTo>
                  <a:cubicBezTo>
                    <a:pt x="0" y="114"/>
                    <a:pt x="62" y="51"/>
                    <a:pt x="90" y="28"/>
                  </a:cubicBezTo>
                  <a:cubicBezTo>
                    <a:pt x="117" y="5"/>
                    <a:pt x="264" y="5"/>
                    <a:pt x="272" y="3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5" name="ïṩľíḑe">
              <a:extLst>
                <a:ext uri="{FF2B5EF4-FFF2-40B4-BE49-F238E27FC236}">
                  <a16:creationId xmlns="" xmlns:a16="http://schemas.microsoft.com/office/drawing/2014/main" id="{39149333-D973-40E1-AB6B-84A182D2A7E4}"/>
                </a:ext>
              </a:extLst>
            </p:cNvPr>
            <p:cNvSpPr/>
            <p:nvPr/>
          </p:nvSpPr>
          <p:spPr bwMode="auto">
            <a:xfrm>
              <a:off x="612775" y="4733925"/>
              <a:ext cx="171450" cy="166688"/>
            </a:xfrm>
            <a:custGeom>
              <a:avLst/>
              <a:gdLst>
                <a:gd name="T0" fmla="*/ 429 w 476"/>
                <a:gd name="T1" fmla="*/ 312 h 461"/>
                <a:gd name="T2" fmla="*/ 422 w 476"/>
                <a:gd name="T3" fmla="*/ 126 h 461"/>
                <a:gd name="T4" fmla="*/ 276 w 476"/>
                <a:gd name="T5" fmla="*/ 7 h 461"/>
                <a:gd name="T6" fmla="*/ 255 w 476"/>
                <a:gd name="T7" fmla="*/ 8 h 461"/>
                <a:gd name="T8" fmla="*/ 97 w 476"/>
                <a:gd name="T9" fmla="*/ 33 h 461"/>
                <a:gd name="T10" fmla="*/ 13 w 476"/>
                <a:gd name="T11" fmla="*/ 150 h 461"/>
                <a:gd name="T12" fmla="*/ 30 w 476"/>
                <a:gd name="T13" fmla="*/ 366 h 461"/>
                <a:gd name="T14" fmla="*/ 257 w 476"/>
                <a:gd name="T15" fmla="*/ 452 h 461"/>
                <a:gd name="T16" fmla="*/ 377 w 476"/>
                <a:gd name="T17" fmla="*/ 391 h 461"/>
                <a:gd name="T18" fmla="*/ 429 w 476"/>
                <a:gd name="T19" fmla="*/ 312 h 461"/>
                <a:gd name="T20" fmla="*/ 276 w 476"/>
                <a:gd name="T21" fmla="*/ 0 h 461"/>
                <a:gd name="T22" fmla="*/ 428 w 476"/>
                <a:gd name="T23" fmla="*/ 121 h 461"/>
                <a:gd name="T24" fmla="*/ 436 w 476"/>
                <a:gd name="T25" fmla="*/ 316 h 461"/>
                <a:gd name="T26" fmla="*/ 382 w 476"/>
                <a:gd name="T27" fmla="*/ 397 h 461"/>
                <a:gd name="T28" fmla="*/ 259 w 476"/>
                <a:gd name="T29" fmla="*/ 460 h 461"/>
                <a:gd name="T30" fmla="*/ 256 w 476"/>
                <a:gd name="T31" fmla="*/ 459 h 461"/>
                <a:gd name="T32" fmla="*/ 24 w 476"/>
                <a:gd name="T33" fmla="*/ 373 h 461"/>
                <a:gd name="T34" fmla="*/ 22 w 476"/>
                <a:gd name="T35" fmla="*/ 369 h 461"/>
                <a:gd name="T36" fmla="*/ 4 w 476"/>
                <a:gd name="T37" fmla="*/ 151 h 461"/>
                <a:gd name="T38" fmla="*/ 91 w 476"/>
                <a:gd name="T39" fmla="*/ 26 h 461"/>
                <a:gd name="T40" fmla="*/ 254 w 476"/>
                <a:gd name="T41" fmla="*/ 1 h 461"/>
                <a:gd name="T42" fmla="*/ 275 w 476"/>
                <a:gd name="T43" fmla="*/ 0 h 461"/>
                <a:gd name="T44" fmla="*/ 276 w 476"/>
                <a:gd name="T45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6" h="461">
                  <a:moveTo>
                    <a:pt x="429" y="312"/>
                  </a:moveTo>
                  <a:cubicBezTo>
                    <a:pt x="466" y="228"/>
                    <a:pt x="433" y="142"/>
                    <a:pt x="422" y="126"/>
                  </a:cubicBezTo>
                  <a:cubicBezTo>
                    <a:pt x="408" y="108"/>
                    <a:pt x="289" y="12"/>
                    <a:pt x="276" y="7"/>
                  </a:cubicBezTo>
                  <a:cubicBezTo>
                    <a:pt x="274" y="8"/>
                    <a:pt x="268" y="8"/>
                    <a:pt x="255" y="8"/>
                  </a:cubicBezTo>
                  <a:cubicBezTo>
                    <a:pt x="214" y="11"/>
                    <a:pt x="118" y="14"/>
                    <a:pt x="97" y="33"/>
                  </a:cubicBezTo>
                  <a:cubicBezTo>
                    <a:pt x="61" y="63"/>
                    <a:pt x="9" y="120"/>
                    <a:pt x="13" y="150"/>
                  </a:cubicBezTo>
                  <a:cubicBezTo>
                    <a:pt x="16" y="184"/>
                    <a:pt x="28" y="345"/>
                    <a:pt x="30" y="366"/>
                  </a:cubicBezTo>
                  <a:cubicBezTo>
                    <a:pt x="51" y="375"/>
                    <a:pt x="217" y="449"/>
                    <a:pt x="257" y="452"/>
                  </a:cubicBezTo>
                  <a:cubicBezTo>
                    <a:pt x="297" y="453"/>
                    <a:pt x="361" y="410"/>
                    <a:pt x="377" y="391"/>
                  </a:cubicBezTo>
                  <a:cubicBezTo>
                    <a:pt x="393" y="373"/>
                    <a:pt x="417" y="340"/>
                    <a:pt x="429" y="312"/>
                  </a:cubicBezTo>
                  <a:close/>
                  <a:moveTo>
                    <a:pt x="276" y="0"/>
                  </a:moveTo>
                  <a:cubicBezTo>
                    <a:pt x="290" y="0"/>
                    <a:pt x="417" y="107"/>
                    <a:pt x="428" y="121"/>
                  </a:cubicBezTo>
                  <a:cubicBezTo>
                    <a:pt x="440" y="137"/>
                    <a:pt x="475" y="228"/>
                    <a:pt x="436" y="316"/>
                  </a:cubicBezTo>
                  <a:cubicBezTo>
                    <a:pt x="423" y="345"/>
                    <a:pt x="400" y="378"/>
                    <a:pt x="382" y="397"/>
                  </a:cubicBezTo>
                  <a:cubicBezTo>
                    <a:pt x="366" y="415"/>
                    <a:pt x="304" y="460"/>
                    <a:pt x="259" y="460"/>
                  </a:cubicBezTo>
                  <a:cubicBezTo>
                    <a:pt x="259" y="460"/>
                    <a:pt x="258" y="459"/>
                    <a:pt x="256" y="459"/>
                  </a:cubicBezTo>
                  <a:cubicBezTo>
                    <a:pt x="213" y="458"/>
                    <a:pt x="32" y="376"/>
                    <a:pt x="24" y="373"/>
                  </a:cubicBezTo>
                  <a:cubicBezTo>
                    <a:pt x="23" y="372"/>
                    <a:pt x="22" y="371"/>
                    <a:pt x="22" y="369"/>
                  </a:cubicBezTo>
                  <a:cubicBezTo>
                    <a:pt x="22" y="367"/>
                    <a:pt x="8" y="186"/>
                    <a:pt x="4" y="151"/>
                  </a:cubicBezTo>
                  <a:cubicBezTo>
                    <a:pt x="0" y="106"/>
                    <a:pt x="91" y="27"/>
                    <a:pt x="91" y="26"/>
                  </a:cubicBezTo>
                  <a:cubicBezTo>
                    <a:pt x="114" y="7"/>
                    <a:pt x="209" y="3"/>
                    <a:pt x="254" y="1"/>
                  </a:cubicBezTo>
                  <a:cubicBezTo>
                    <a:pt x="265" y="0"/>
                    <a:pt x="274" y="0"/>
                    <a:pt x="275" y="0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6" name="íSľiḍè">
              <a:extLst>
                <a:ext uri="{FF2B5EF4-FFF2-40B4-BE49-F238E27FC236}">
                  <a16:creationId xmlns="" xmlns:a16="http://schemas.microsoft.com/office/drawing/2014/main" id="{AD4DBB7A-98F0-40C7-8FEF-1667938BB32A}"/>
                </a:ext>
              </a:extLst>
            </p:cNvPr>
            <p:cNvSpPr/>
            <p:nvPr/>
          </p:nvSpPr>
          <p:spPr bwMode="auto">
            <a:xfrm>
              <a:off x="604838" y="4864100"/>
              <a:ext cx="46037" cy="22225"/>
            </a:xfrm>
            <a:custGeom>
              <a:avLst/>
              <a:gdLst>
                <a:gd name="T0" fmla="*/ 11 w 128"/>
                <a:gd name="T1" fmla="*/ 29 h 61"/>
                <a:gd name="T2" fmla="*/ 40 w 128"/>
                <a:gd name="T3" fmla="*/ 0 h 61"/>
                <a:gd name="T4" fmla="*/ 127 w 128"/>
                <a:gd name="T5" fmla="*/ 31 h 61"/>
                <a:gd name="T6" fmla="*/ 88 w 128"/>
                <a:gd name="T7" fmla="*/ 52 h 61"/>
                <a:gd name="T8" fmla="*/ 11 w 128"/>
                <a:gd name="T9" fmla="*/ 2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1">
                  <a:moveTo>
                    <a:pt x="11" y="29"/>
                  </a:moveTo>
                  <a:cubicBezTo>
                    <a:pt x="0" y="18"/>
                    <a:pt x="40" y="0"/>
                    <a:pt x="40" y="0"/>
                  </a:cubicBezTo>
                  <a:cubicBezTo>
                    <a:pt x="86" y="11"/>
                    <a:pt x="127" y="31"/>
                    <a:pt x="127" y="31"/>
                  </a:cubicBezTo>
                  <a:cubicBezTo>
                    <a:pt x="127" y="31"/>
                    <a:pt x="114" y="44"/>
                    <a:pt x="88" y="52"/>
                  </a:cubicBezTo>
                  <a:cubicBezTo>
                    <a:pt x="62" y="60"/>
                    <a:pt x="20" y="38"/>
                    <a:pt x="11" y="29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7" name="i$ļîḓê">
              <a:extLst>
                <a:ext uri="{FF2B5EF4-FFF2-40B4-BE49-F238E27FC236}">
                  <a16:creationId xmlns="" xmlns:a16="http://schemas.microsoft.com/office/drawing/2014/main" id="{3E6FF57E-A38F-409F-985D-834E3E01DAB8}"/>
                </a:ext>
              </a:extLst>
            </p:cNvPr>
            <p:cNvSpPr/>
            <p:nvPr/>
          </p:nvSpPr>
          <p:spPr bwMode="auto">
            <a:xfrm>
              <a:off x="606425" y="4862513"/>
              <a:ext cx="46038" cy="22225"/>
            </a:xfrm>
            <a:custGeom>
              <a:avLst/>
              <a:gdLst>
                <a:gd name="T0" fmla="*/ 83 w 128"/>
                <a:gd name="T1" fmla="*/ 51 h 61"/>
                <a:gd name="T2" fmla="*/ 115 w 128"/>
                <a:gd name="T3" fmla="*/ 35 h 61"/>
                <a:gd name="T4" fmla="*/ 36 w 128"/>
                <a:gd name="T5" fmla="*/ 7 h 61"/>
                <a:gd name="T6" fmla="*/ 9 w 128"/>
                <a:gd name="T7" fmla="*/ 29 h 61"/>
                <a:gd name="T8" fmla="*/ 9 w 128"/>
                <a:gd name="T9" fmla="*/ 30 h 61"/>
                <a:gd name="T10" fmla="*/ 71 w 128"/>
                <a:gd name="T11" fmla="*/ 52 h 61"/>
                <a:gd name="T12" fmla="*/ 83 w 128"/>
                <a:gd name="T13" fmla="*/ 51 h 61"/>
                <a:gd name="T14" fmla="*/ 125 w 128"/>
                <a:gd name="T15" fmla="*/ 31 h 61"/>
                <a:gd name="T16" fmla="*/ 127 w 128"/>
                <a:gd name="T17" fmla="*/ 33 h 61"/>
                <a:gd name="T18" fmla="*/ 126 w 128"/>
                <a:gd name="T19" fmla="*/ 37 h 61"/>
                <a:gd name="T20" fmla="*/ 85 w 128"/>
                <a:gd name="T21" fmla="*/ 58 h 61"/>
                <a:gd name="T22" fmla="*/ 71 w 128"/>
                <a:gd name="T23" fmla="*/ 60 h 61"/>
                <a:gd name="T24" fmla="*/ 3 w 128"/>
                <a:gd name="T25" fmla="*/ 34 h 61"/>
                <a:gd name="T26" fmla="*/ 0 w 128"/>
                <a:gd name="T27" fmla="*/ 28 h 61"/>
                <a:gd name="T28" fmla="*/ 33 w 128"/>
                <a:gd name="T29" fmla="*/ 1 h 61"/>
                <a:gd name="T30" fmla="*/ 37 w 128"/>
                <a:gd name="T31" fmla="*/ 0 h 61"/>
                <a:gd name="T32" fmla="*/ 125 w 128"/>
                <a:gd name="T33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8" h="61">
                  <a:moveTo>
                    <a:pt x="83" y="51"/>
                  </a:moveTo>
                  <a:cubicBezTo>
                    <a:pt x="98" y="47"/>
                    <a:pt x="110" y="39"/>
                    <a:pt x="115" y="35"/>
                  </a:cubicBezTo>
                  <a:cubicBezTo>
                    <a:pt x="103" y="30"/>
                    <a:pt x="71" y="16"/>
                    <a:pt x="36" y="7"/>
                  </a:cubicBezTo>
                  <a:cubicBezTo>
                    <a:pt x="23" y="14"/>
                    <a:pt x="9" y="23"/>
                    <a:pt x="9" y="29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17" y="38"/>
                    <a:pt x="47" y="52"/>
                    <a:pt x="71" y="52"/>
                  </a:cubicBezTo>
                  <a:cubicBezTo>
                    <a:pt x="74" y="52"/>
                    <a:pt x="79" y="52"/>
                    <a:pt x="83" y="51"/>
                  </a:cubicBezTo>
                  <a:close/>
                  <a:moveTo>
                    <a:pt x="125" y="31"/>
                  </a:moveTo>
                  <a:cubicBezTo>
                    <a:pt x="126" y="31"/>
                    <a:pt x="126" y="32"/>
                    <a:pt x="127" y="33"/>
                  </a:cubicBezTo>
                  <a:cubicBezTo>
                    <a:pt x="127" y="34"/>
                    <a:pt x="127" y="35"/>
                    <a:pt x="126" y="37"/>
                  </a:cubicBezTo>
                  <a:cubicBezTo>
                    <a:pt x="125" y="38"/>
                    <a:pt x="111" y="51"/>
                    <a:pt x="85" y="58"/>
                  </a:cubicBezTo>
                  <a:cubicBezTo>
                    <a:pt x="80" y="60"/>
                    <a:pt x="76" y="60"/>
                    <a:pt x="71" y="60"/>
                  </a:cubicBezTo>
                  <a:cubicBezTo>
                    <a:pt x="44" y="60"/>
                    <a:pt x="12" y="43"/>
                    <a:pt x="3" y="34"/>
                  </a:cubicBezTo>
                  <a:cubicBezTo>
                    <a:pt x="0" y="32"/>
                    <a:pt x="0" y="30"/>
                    <a:pt x="0" y="28"/>
                  </a:cubicBezTo>
                  <a:cubicBezTo>
                    <a:pt x="3" y="15"/>
                    <a:pt x="29" y="3"/>
                    <a:pt x="33" y="1"/>
                  </a:cubicBezTo>
                  <a:cubicBezTo>
                    <a:pt x="34" y="0"/>
                    <a:pt x="36" y="0"/>
                    <a:pt x="37" y="0"/>
                  </a:cubicBezTo>
                  <a:cubicBezTo>
                    <a:pt x="83" y="11"/>
                    <a:pt x="124" y="30"/>
                    <a:pt x="125" y="3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8" name="îṩ1ïḍè">
              <a:extLst>
                <a:ext uri="{FF2B5EF4-FFF2-40B4-BE49-F238E27FC236}">
                  <a16:creationId xmlns="" xmlns:a16="http://schemas.microsoft.com/office/drawing/2014/main" id="{D506FCA3-BAEC-451E-A286-76ABE5EEEB7A}"/>
                </a:ext>
              </a:extLst>
            </p:cNvPr>
            <p:cNvSpPr/>
            <p:nvPr/>
          </p:nvSpPr>
          <p:spPr bwMode="auto">
            <a:xfrm>
              <a:off x="563563" y="4710113"/>
              <a:ext cx="209550" cy="184150"/>
            </a:xfrm>
            <a:custGeom>
              <a:avLst/>
              <a:gdLst>
                <a:gd name="T0" fmla="*/ 339 w 583"/>
                <a:gd name="T1" fmla="*/ 19 h 512"/>
                <a:gd name="T2" fmla="*/ 575 w 583"/>
                <a:gd name="T3" fmla="*/ 164 h 512"/>
                <a:gd name="T4" fmla="*/ 551 w 583"/>
                <a:gd name="T5" fmla="*/ 395 h 512"/>
                <a:gd name="T6" fmla="*/ 411 w 583"/>
                <a:gd name="T7" fmla="*/ 483 h 512"/>
                <a:gd name="T8" fmla="*/ 174 w 583"/>
                <a:gd name="T9" fmla="*/ 454 h 512"/>
                <a:gd name="T10" fmla="*/ 54 w 583"/>
                <a:gd name="T11" fmla="*/ 346 h 512"/>
                <a:gd name="T12" fmla="*/ 114 w 583"/>
                <a:gd name="T13" fmla="*/ 59 h 512"/>
                <a:gd name="T14" fmla="*/ 339 w 583"/>
                <a:gd name="T15" fmla="*/ 1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3" h="512">
                  <a:moveTo>
                    <a:pt x="339" y="19"/>
                  </a:moveTo>
                  <a:cubicBezTo>
                    <a:pt x="410" y="38"/>
                    <a:pt x="561" y="78"/>
                    <a:pt x="575" y="164"/>
                  </a:cubicBezTo>
                  <a:cubicBezTo>
                    <a:pt x="581" y="201"/>
                    <a:pt x="582" y="360"/>
                    <a:pt x="551" y="395"/>
                  </a:cubicBezTo>
                  <a:cubicBezTo>
                    <a:pt x="551" y="395"/>
                    <a:pt x="434" y="469"/>
                    <a:pt x="411" y="483"/>
                  </a:cubicBezTo>
                  <a:cubicBezTo>
                    <a:pt x="365" y="511"/>
                    <a:pt x="222" y="471"/>
                    <a:pt x="174" y="454"/>
                  </a:cubicBezTo>
                  <a:cubicBezTo>
                    <a:pt x="128" y="435"/>
                    <a:pt x="74" y="371"/>
                    <a:pt x="54" y="346"/>
                  </a:cubicBezTo>
                  <a:cubicBezTo>
                    <a:pt x="0" y="278"/>
                    <a:pt x="38" y="99"/>
                    <a:pt x="114" y="59"/>
                  </a:cubicBezTo>
                  <a:cubicBezTo>
                    <a:pt x="200" y="14"/>
                    <a:pt x="262" y="0"/>
                    <a:pt x="339" y="19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9" name="iṣḻîḓè">
              <a:extLst>
                <a:ext uri="{FF2B5EF4-FFF2-40B4-BE49-F238E27FC236}">
                  <a16:creationId xmlns="" xmlns:a16="http://schemas.microsoft.com/office/drawing/2014/main" id="{664A03DD-A22F-43C5-AAD4-FD1D2794CEFE}"/>
                </a:ext>
              </a:extLst>
            </p:cNvPr>
            <p:cNvSpPr/>
            <p:nvPr/>
          </p:nvSpPr>
          <p:spPr bwMode="auto">
            <a:xfrm>
              <a:off x="569913" y="4713288"/>
              <a:ext cx="204787" cy="174625"/>
            </a:xfrm>
            <a:custGeom>
              <a:avLst/>
              <a:gdLst>
                <a:gd name="T0" fmla="*/ 529 w 568"/>
                <a:gd name="T1" fmla="*/ 384 h 486"/>
                <a:gd name="T2" fmla="*/ 551 w 568"/>
                <a:gd name="T3" fmla="*/ 156 h 486"/>
                <a:gd name="T4" fmla="*/ 319 w 568"/>
                <a:gd name="T5" fmla="*/ 17 h 486"/>
                <a:gd name="T6" fmla="*/ 255 w 568"/>
                <a:gd name="T7" fmla="*/ 8 h 486"/>
                <a:gd name="T8" fmla="*/ 97 w 568"/>
                <a:gd name="T9" fmla="*/ 55 h 486"/>
                <a:gd name="T10" fmla="*/ 22 w 568"/>
                <a:gd name="T11" fmla="*/ 185 h 486"/>
                <a:gd name="T12" fmla="*/ 40 w 568"/>
                <a:gd name="T13" fmla="*/ 335 h 486"/>
                <a:gd name="T14" fmla="*/ 158 w 568"/>
                <a:gd name="T15" fmla="*/ 439 h 486"/>
                <a:gd name="T16" fmla="*/ 344 w 568"/>
                <a:gd name="T17" fmla="*/ 478 h 486"/>
                <a:gd name="T18" fmla="*/ 390 w 568"/>
                <a:gd name="T19" fmla="*/ 469 h 486"/>
                <a:gd name="T20" fmla="*/ 529 w 568"/>
                <a:gd name="T21" fmla="*/ 384 h 486"/>
                <a:gd name="T22" fmla="*/ 320 w 568"/>
                <a:gd name="T23" fmla="*/ 9 h 486"/>
                <a:gd name="T24" fmla="*/ 559 w 568"/>
                <a:gd name="T25" fmla="*/ 155 h 486"/>
                <a:gd name="T26" fmla="*/ 535 w 568"/>
                <a:gd name="T27" fmla="*/ 389 h 486"/>
                <a:gd name="T28" fmla="*/ 534 w 568"/>
                <a:gd name="T29" fmla="*/ 389 h 486"/>
                <a:gd name="T30" fmla="*/ 394 w 568"/>
                <a:gd name="T31" fmla="*/ 476 h 486"/>
                <a:gd name="T32" fmla="*/ 344 w 568"/>
                <a:gd name="T33" fmla="*/ 485 h 486"/>
                <a:gd name="T34" fmla="*/ 155 w 568"/>
                <a:gd name="T35" fmla="*/ 447 h 486"/>
                <a:gd name="T36" fmla="*/ 34 w 568"/>
                <a:gd name="T37" fmla="*/ 340 h 486"/>
                <a:gd name="T38" fmla="*/ 14 w 568"/>
                <a:gd name="T39" fmla="*/ 182 h 486"/>
                <a:gd name="T40" fmla="*/ 94 w 568"/>
                <a:gd name="T41" fmla="*/ 48 h 486"/>
                <a:gd name="T42" fmla="*/ 255 w 568"/>
                <a:gd name="T43" fmla="*/ 0 h 486"/>
                <a:gd name="T44" fmla="*/ 320 w 568"/>
                <a:gd name="T45" fmla="*/ 9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8" h="486">
                  <a:moveTo>
                    <a:pt x="529" y="384"/>
                  </a:moveTo>
                  <a:cubicBezTo>
                    <a:pt x="558" y="350"/>
                    <a:pt x="558" y="197"/>
                    <a:pt x="551" y="156"/>
                  </a:cubicBezTo>
                  <a:cubicBezTo>
                    <a:pt x="538" y="73"/>
                    <a:pt x="384" y="33"/>
                    <a:pt x="319" y="17"/>
                  </a:cubicBezTo>
                  <a:cubicBezTo>
                    <a:pt x="296" y="11"/>
                    <a:pt x="275" y="8"/>
                    <a:pt x="255" y="8"/>
                  </a:cubicBezTo>
                  <a:cubicBezTo>
                    <a:pt x="209" y="8"/>
                    <a:pt x="161" y="22"/>
                    <a:pt x="97" y="55"/>
                  </a:cubicBezTo>
                  <a:cubicBezTo>
                    <a:pt x="64" y="74"/>
                    <a:pt x="35" y="122"/>
                    <a:pt x="22" y="185"/>
                  </a:cubicBezTo>
                  <a:cubicBezTo>
                    <a:pt x="8" y="247"/>
                    <a:pt x="15" y="305"/>
                    <a:pt x="40" y="335"/>
                  </a:cubicBezTo>
                  <a:cubicBezTo>
                    <a:pt x="72" y="374"/>
                    <a:pt x="118" y="424"/>
                    <a:pt x="158" y="439"/>
                  </a:cubicBezTo>
                  <a:cubicBezTo>
                    <a:pt x="190" y="452"/>
                    <a:pt x="282" y="478"/>
                    <a:pt x="344" y="478"/>
                  </a:cubicBezTo>
                  <a:cubicBezTo>
                    <a:pt x="365" y="478"/>
                    <a:pt x="380" y="475"/>
                    <a:pt x="390" y="469"/>
                  </a:cubicBezTo>
                  <a:cubicBezTo>
                    <a:pt x="413" y="455"/>
                    <a:pt x="521" y="388"/>
                    <a:pt x="529" y="384"/>
                  </a:cubicBezTo>
                  <a:close/>
                  <a:moveTo>
                    <a:pt x="320" y="9"/>
                  </a:moveTo>
                  <a:cubicBezTo>
                    <a:pt x="393" y="28"/>
                    <a:pt x="545" y="67"/>
                    <a:pt x="559" y="155"/>
                  </a:cubicBezTo>
                  <a:cubicBezTo>
                    <a:pt x="565" y="192"/>
                    <a:pt x="567" y="352"/>
                    <a:pt x="535" y="389"/>
                  </a:cubicBezTo>
                  <a:lnTo>
                    <a:pt x="534" y="389"/>
                  </a:lnTo>
                  <a:cubicBezTo>
                    <a:pt x="532" y="390"/>
                    <a:pt x="418" y="462"/>
                    <a:pt x="394" y="476"/>
                  </a:cubicBezTo>
                  <a:cubicBezTo>
                    <a:pt x="384" y="483"/>
                    <a:pt x="367" y="485"/>
                    <a:pt x="344" y="485"/>
                  </a:cubicBezTo>
                  <a:cubicBezTo>
                    <a:pt x="281" y="485"/>
                    <a:pt x="189" y="460"/>
                    <a:pt x="155" y="447"/>
                  </a:cubicBezTo>
                  <a:cubicBezTo>
                    <a:pt x="114" y="431"/>
                    <a:pt x="66" y="380"/>
                    <a:pt x="34" y="340"/>
                  </a:cubicBezTo>
                  <a:cubicBezTo>
                    <a:pt x="8" y="307"/>
                    <a:pt x="0" y="247"/>
                    <a:pt x="14" y="182"/>
                  </a:cubicBezTo>
                  <a:cubicBezTo>
                    <a:pt x="28" y="119"/>
                    <a:pt x="58" y="67"/>
                    <a:pt x="94" y="48"/>
                  </a:cubicBezTo>
                  <a:cubicBezTo>
                    <a:pt x="159" y="15"/>
                    <a:pt x="208" y="0"/>
                    <a:pt x="255" y="0"/>
                  </a:cubicBezTo>
                  <a:cubicBezTo>
                    <a:pt x="276" y="0"/>
                    <a:pt x="297" y="3"/>
                    <a:pt x="320" y="9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0" name="íşļíďê">
              <a:extLst>
                <a:ext uri="{FF2B5EF4-FFF2-40B4-BE49-F238E27FC236}">
                  <a16:creationId xmlns="" xmlns:a16="http://schemas.microsoft.com/office/drawing/2014/main" id="{C7A2DCBE-E25A-4258-9E56-F74A89379631}"/>
                </a:ext>
              </a:extLst>
            </p:cNvPr>
            <p:cNvSpPr/>
            <p:nvPr/>
          </p:nvSpPr>
          <p:spPr bwMode="auto">
            <a:xfrm>
              <a:off x="436563" y="5030788"/>
              <a:ext cx="50800" cy="69850"/>
            </a:xfrm>
            <a:custGeom>
              <a:avLst/>
              <a:gdLst>
                <a:gd name="T0" fmla="*/ 107 w 143"/>
                <a:gd name="T1" fmla="*/ 119 h 194"/>
                <a:gd name="T2" fmla="*/ 140 w 143"/>
                <a:gd name="T3" fmla="*/ 169 h 194"/>
                <a:gd name="T4" fmla="*/ 90 w 143"/>
                <a:gd name="T5" fmla="*/ 178 h 194"/>
                <a:gd name="T6" fmla="*/ 37 w 143"/>
                <a:gd name="T7" fmla="*/ 111 h 194"/>
                <a:gd name="T8" fmla="*/ 0 w 143"/>
                <a:gd name="T9" fmla="*/ 81 h 194"/>
                <a:gd name="T10" fmla="*/ 44 w 143"/>
                <a:gd name="T11" fmla="*/ 0 h 194"/>
                <a:gd name="T12" fmla="*/ 68 w 143"/>
                <a:gd name="T13" fmla="*/ 43 h 194"/>
                <a:gd name="T14" fmla="*/ 107 w 143"/>
                <a:gd name="T15" fmla="*/ 11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194">
                  <a:moveTo>
                    <a:pt x="107" y="119"/>
                  </a:moveTo>
                  <a:cubicBezTo>
                    <a:pt x="108" y="125"/>
                    <a:pt x="142" y="145"/>
                    <a:pt x="140" y="169"/>
                  </a:cubicBezTo>
                  <a:cubicBezTo>
                    <a:pt x="137" y="193"/>
                    <a:pt x="103" y="189"/>
                    <a:pt x="90" y="178"/>
                  </a:cubicBezTo>
                  <a:cubicBezTo>
                    <a:pt x="82" y="171"/>
                    <a:pt x="45" y="119"/>
                    <a:pt x="37" y="111"/>
                  </a:cubicBezTo>
                  <a:cubicBezTo>
                    <a:pt x="29" y="103"/>
                    <a:pt x="0" y="81"/>
                    <a:pt x="0" y="81"/>
                  </a:cubicBezTo>
                  <a:lnTo>
                    <a:pt x="44" y="0"/>
                  </a:lnTo>
                  <a:cubicBezTo>
                    <a:pt x="57" y="2"/>
                    <a:pt x="67" y="29"/>
                    <a:pt x="68" y="43"/>
                  </a:cubicBezTo>
                  <a:cubicBezTo>
                    <a:pt x="69" y="58"/>
                    <a:pt x="106" y="114"/>
                    <a:pt x="107" y="119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1" name="iṩlïḑê">
              <a:extLst>
                <a:ext uri="{FF2B5EF4-FFF2-40B4-BE49-F238E27FC236}">
                  <a16:creationId xmlns="" xmlns:a16="http://schemas.microsoft.com/office/drawing/2014/main" id="{3592014A-D6EB-42DC-AB73-5782683A05B7}"/>
                </a:ext>
              </a:extLst>
            </p:cNvPr>
            <p:cNvSpPr/>
            <p:nvPr/>
          </p:nvSpPr>
          <p:spPr bwMode="auto">
            <a:xfrm>
              <a:off x="434975" y="5029200"/>
              <a:ext cx="55563" cy="71438"/>
            </a:xfrm>
            <a:custGeom>
              <a:avLst/>
              <a:gdLst>
                <a:gd name="T0" fmla="*/ 122 w 154"/>
                <a:gd name="T1" fmla="*/ 132 h 199"/>
                <a:gd name="T2" fmla="*/ 150 w 154"/>
                <a:gd name="T3" fmla="*/ 177 h 199"/>
                <a:gd name="T4" fmla="*/ 135 w 154"/>
                <a:gd name="T5" fmla="*/ 196 h 199"/>
                <a:gd name="T6" fmla="*/ 122 w 154"/>
                <a:gd name="T7" fmla="*/ 198 h 199"/>
                <a:gd name="T8" fmla="*/ 92 w 154"/>
                <a:gd name="T9" fmla="*/ 188 h 199"/>
                <a:gd name="T10" fmla="*/ 59 w 154"/>
                <a:gd name="T11" fmla="*/ 147 h 199"/>
                <a:gd name="T12" fmla="*/ 38 w 154"/>
                <a:gd name="T13" fmla="*/ 121 h 199"/>
                <a:gd name="T14" fmla="*/ 2 w 154"/>
                <a:gd name="T15" fmla="*/ 91 h 199"/>
                <a:gd name="T16" fmla="*/ 1 w 154"/>
                <a:gd name="T17" fmla="*/ 85 h 199"/>
                <a:gd name="T18" fmla="*/ 7 w 154"/>
                <a:gd name="T19" fmla="*/ 84 h 199"/>
                <a:gd name="T20" fmla="*/ 44 w 154"/>
                <a:gd name="T21" fmla="*/ 115 h 199"/>
                <a:gd name="T22" fmla="*/ 66 w 154"/>
                <a:gd name="T23" fmla="*/ 142 h 199"/>
                <a:gd name="T24" fmla="*/ 98 w 154"/>
                <a:gd name="T25" fmla="*/ 182 h 199"/>
                <a:gd name="T26" fmla="*/ 133 w 154"/>
                <a:gd name="T27" fmla="*/ 189 h 199"/>
                <a:gd name="T28" fmla="*/ 142 w 154"/>
                <a:gd name="T29" fmla="*/ 176 h 199"/>
                <a:gd name="T30" fmla="*/ 118 w 154"/>
                <a:gd name="T31" fmla="*/ 137 h 199"/>
                <a:gd name="T32" fmla="*/ 107 w 154"/>
                <a:gd name="T33" fmla="*/ 127 h 199"/>
                <a:gd name="T34" fmla="*/ 97 w 154"/>
                <a:gd name="T35" fmla="*/ 106 h 199"/>
                <a:gd name="T36" fmla="*/ 69 w 154"/>
                <a:gd name="T37" fmla="*/ 49 h 199"/>
                <a:gd name="T38" fmla="*/ 47 w 154"/>
                <a:gd name="T39" fmla="*/ 8 h 199"/>
                <a:gd name="T40" fmla="*/ 44 w 154"/>
                <a:gd name="T41" fmla="*/ 4 h 199"/>
                <a:gd name="T42" fmla="*/ 49 w 154"/>
                <a:gd name="T43" fmla="*/ 1 h 199"/>
                <a:gd name="T44" fmla="*/ 76 w 154"/>
                <a:gd name="T45" fmla="*/ 49 h 199"/>
                <a:gd name="T46" fmla="*/ 103 w 154"/>
                <a:gd name="T47" fmla="*/ 102 h 199"/>
                <a:gd name="T48" fmla="*/ 116 w 154"/>
                <a:gd name="T49" fmla="*/ 125 h 199"/>
                <a:gd name="T50" fmla="*/ 122 w 154"/>
                <a:gd name="T51" fmla="*/ 132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99">
                  <a:moveTo>
                    <a:pt x="122" y="132"/>
                  </a:moveTo>
                  <a:cubicBezTo>
                    <a:pt x="134" y="141"/>
                    <a:pt x="153" y="157"/>
                    <a:pt x="150" y="177"/>
                  </a:cubicBezTo>
                  <a:cubicBezTo>
                    <a:pt x="149" y="185"/>
                    <a:pt x="143" y="192"/>
                    <a:pt x="135" y="196"/>
                  </a:cubicBezTo>
                  <a:cubicBezTo>
                    <a:pt x="132" y="197"/>
                    <a:pt x="127" y="198"/>
                    <a:pt x="122" y="198"/>
                  </a:cubicBezTo>
                  <a:cubicBezTo>
                    <a:pt x="111" y="198"/>
                    <a:pt x="99" y="193"/>
                    <a:pt x="92" y="188"/>
                  </a:cubicBezTo>
                  <a:cubicBezTo>
                    <a:pt x="88" y="184"/>
                    <a:pt x="76" y="169"/>
                    <a:pt x="59" y="147"/>
                  </a:cubicBezTo>
                  <a:cubicBezTo>
                    <a:pt x="51" y="135"/>
                    <a:pt x="42" y="123"/>
                    <a:pt x="38" y="121"/>
                  </a:cubicBezTo>
                  <a:cubicBezTo>
                    <a:pt x="31" y="113"/>
                    <a:pt x="2" y="91"/>
                    <a:pt x="2" y="91"/>
                  </a:cubicBezTo>
                  <a:cubicBezTo>
                    <a:pt x="0" y="90"/>
                    <a:pt x="0" y="86"/>
                    <a:pt x="1" y="85"/>
                  </a:cubicBezTo>
                  <a:cubicBezTo>
                    <a:pt x="2" y="84"/>
                    <a:pt x="5" y="83"/>
                    <a:pt x="7" y="84"/>
                  </a:cubicBezTo>
                  <a:cubicBezTo>
                    <a:pt x="8" y="85"/>
                    <a:pt x="36" y="107"/>
                    <a:pt x="44" y="115"/>
                  </a:cubicBezTo>
                  <a:cubicBezTo>
                    <a:pt x="47" y="119"/>
                    <a:pt x="55" y="129"/>
                    <a:pt x="66" y="142"/>
                  </a:cubicBezTo>
                  <a:cubicBezTo>
                    <a:pt x="77" y="158"/>
                    <a:pt x="92" y="178"/>
                    <a:pt x="98" y="182"/>
                  </a:cubicBezTo>
                  <a:cubicBezTo>
                    <a:pt x="106" y="189"/>
                    <a:pt x="122" y="192"/>
                    <a:pt x="133" y="189"/>
                  </a:cubicBezTo>
                  <a:cubicBezTo>
                    <a:pt x="139" y="186"/>
                    <a:pt x="141" y="182"/>
                    <a:pt x="142" y="176"/>
                  </a:cubicBezTo>
                  <a:cubicBezTo>
                    <a:pt x="144" y="161"/>
                    <a:pt x="128" y="147"/>
                    <a:pt x="118" y="137"/>
                  </a:cubicBezTo>
                  <a:cubicBezTo>
                    <a:pt x="111" y="132"/>
                    <a:pt x="109" y="129"/>
                    <a:pt x="107" y="127"/>
                  </a:cubicBezTo>
                  <a:cubicBezTo>
                    <a:pt x="107" y="125"/>
                    <a:pt x="102" y="114"/>
                    <a:pt x="97" y="106"/>
                  </a:cubicBezTo>
                  <a:cubicBezTo>
                    <a:pt x="82" y="80"/>
                    <a:pt x="69" y="58"/>
                    <a:pt x="69" y="49"/>
                  </a:cubicBezTo>
                  <a:cubicBezTo>
                    <a:pt x="68" y="33"/>
                    <a:pt x="58" y="10"/>
                    <a:pt x="47" y="8"/>
                  </a:cubicBezTo>
                  <a:cubicBezTo>
                    <a:pt x="45" y="8"/>
                    <a:pt x="44" y="5"/>
                    <a:pt x="44" y="4"/>
                  </a:cubicBezTo>
                  <a:cubicBezTo>
                    <a:pt x="45" y="2"/>
                    <a:pt x="46" y="0"/>
                    <a:pt x="49" y="1"/>
                  </a:cubicBezTo>
                  <a:cubicBezTo>
                    <a:pt x="66" y="3"/>
                    <a:pt x="75" y="32"/>
                    <a:pt x="76" y="49"/>
                  </a:cubicBezTo>
                  <a:cubicBezTo>
                    <a:pt x="77" y="57"/>
                    <a:pt x="92" y="84"/>
                    <a:pt x="103" y="102"/>
                  </a:cubicBezTo>
                  <a:cubicBezTo>
                    <a:pt x="112" y="116"/>
                    <a:pt x="114" y="122"/>
                    <a:pt x="116" y="125"/>
                  </a:cubicBezTo>
                  <a:cubicBezTo>
                    <a:pt x="117" y="126"/>
                    <a:pt x="120" y="129"/>
                    <a:pt x="122" y="13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2" name="îŝḻiďê">
              <a:extLst>
                <a:ext uri="{FF2B5EF4-FFF2-40B4-BE49-F238E27FC236}">
                  <a16:creationId xmlns="" xmlns:a16="http://schemas.microsoft.com/office/drawing/2014/main" id="{22D41C23-F3D6-4A0B-9882-4C87A8BFC222}"/>
                </a:ext>
              </a:extLst>
            </p:cNvPr>
            <p:cNvSpPr/>
            <p:nvPr/>
          </p:nvSpPr>
          <p:spPr bwMode="auto">
            <a:xfrm>
              <a:off x="427038" y="5070475"/>
              <a:ext cx="25400" cy="15875"/>
            </a:xfrm>
            <a:custGeom>
              <a:avLst/>
              <a:gdLst>
                <a:gd name="T0" fmla="*/ 64 w 71"/>
                <a:gd name="T1" fmla="*/ 2 h 46"/>
                <a:gd name="T2" fmla="*/ 69 w 71"/>
                <a:gd name="T3" fmla="*/ 3 h 46"/>
                <a:gd name="T4" fmla="*/ 68 w 71"/>
                <a:gd name="T5" fmla="*/ 9 h 46"/>
                <a:gd name="T6" fmla="*/ 6 w 71"/>
                <a:gd name="T7" fmla="*/ 44 h 46"/>
                <a:gd name="T8" fmla="*/ 4 w 71"/>
                <a:gd name="T9" fmla="*/ 45 h 46"/>
                <a:gd name="T10" fmla="*/ 2 w 71"/>
                <a:gd name="T11" fmla="*/ 44 h 46"/>
                <a:gd name="T12" fmla="*/ 2 w 71"/>
                <a:gd name="T13" fmla="*/ 39 h 46"/>
                <a:gd name="T14" fmla="*/ 64 w 71"/>
                <a:gd name="T15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46">
                  <a:moveTo>
                    <a:pt x="64" y="2"/>
                  </a:moveTo>
                  <a:cubicBezTo>
                    <a:pt x="65" y="0"/>
                    <a:pt x="68" y="0"/>
                    <a:pt x="69" y="3"/>
                  </a:cubicBezTo>
                  <a:cubicBezTo>
                    <a:pt x="70" y="5"/>
                    <a:pt x="69" y="8"/>
                    <a:pt x="68" y="9"/>
                  </a:cubicBezTo>
                  <a:cubicBezTo>
                    <a:pt x="53" y="16"/>
                    <a:pt x="15" y="37"/>
                    <a:pt x="6" y="44"/>
                  </a:cubicBezTo>
                  <a:cubicBezTo>
                    <a:pt x="6" y="45"/>
                    <a:pt x="5" y="45"/>
                    <a:pt x="4" y="45"/>
                  </a:cubicBezTo>
                  <a:cubicBezTo>
                    <a:pt x="3" y="45"/>
                    <a:pt x="2" y="45"/>
                    <a:pt x="2" y="44"/>
                  </a:cubicBezTo>
                  <a:cubicBezTo>
                    <a:pt x="0" y="43"/>
                    <a:pt x="0" y="40"/>
                    <a:pt x="2" y="39"/>
                  </a:cubicBezTo>
                  <a:cubicBezTo>
                    <a:pt x="11" y="28"/>
                    <a:pt x="62" y="3"/>
                    <a:pt x="64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3" name="îṥḻîḑê">
              <a:extLst>
                <a:ext uri="{FF2B5EF4-FFF2-40B4-BE49-F238E27FC236}">
                  <a16:creationId xmlns="" xmlns:a16="http://schemas.microsoft.com/office/drawing/2014/main" id="{D954A3A4-C087-49F6-B7D7-B92E866DFD81}"/>
                </a:ext>
              </a:extLst>
            </p:cNvPr>
            <p:cNvSpPr/>
            <p:nvPr/>
          </p:nvSpPr>
          <p:spPr bwMode="auto">
            <a:xfrm>
              <a:off x="441325" y="5075238"/>
              <a:ext cx="14288" cy="34925"/>
            </a:xfrm>
            <a:custGeom>
              <a:avLst/>
              <a:gdLst>
                <a:gd name="T0" fmla="*/ 36 w 40"/>
                <a:gd name="T1" fmla="*/ 89 h 97"/>
                <a:gd name="T2" fmla="*/ 38 w 40"/>
                <a:gd name="T3" fmla="*/ 93 h 97"/>
                <a:gd name="T4" fmla="*/ 34 w 40"/>
                <a:gd name="T5" fmla="*/ 96 h 97"/>
                <a:gd name="T6" fmla="*/ 33 w 40"/>
                <a:gd name="T7" fmla="*/ 96 h 97"/>
                <a:gd name="T8" fmla="*/ 18 w 40"/>
                <a:gd name="T9" fmla="*/ 92 h 97"/>
                <a:gd name="T10" fmla="*/ 15 w 40"/>
                <a:gd name="T11" fmla="*/ 89 h 97"/>
                <a:gd name="T12" fmla="*/ 1 w 40"/>
                <a:gd name="T13" fmla="*/ 59 h 97"/>
                <a:gd name="T14" fmla="*/ 1 w 40"/>
                <a:gd name="T15" fmla="*/ 56 h 97"/>
                <a:gd name="T16" fmla="*/ 0 w 40"/>
                <a:gd name="T17" fmla="*/ 4 h 97"/>
                <a:gd name="T18" fmla="*/ 3 w 40"/>
                <a:gd name="T19" fmla="*/ 0 h 97"/>
                <a:gd name="T20" fmla="*/ 8 w 40"/>
                <a:gd name="T21" fmla="*/ 3 h 97"/>
                <a:gd name="T22" fmla="*/ 8 w 40"/>
                <a:gd name="T23" fmla="*/ 57 h 97"/>
                <a:gd name="T24" fmla="*/ 22 w 40"/>
                <a:gd name="T25" fmla="*/ 86 h 97"/>
                <a:gd name="T26" fmla="*/ 36 w 40"/>
                <a:gd name="T27" fmla="*/ 8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97">
                  <a:moveTo>
                    <a:pt x="36" y="89"/>
                  </a:moveTo>
                  <a:cubicBezTo>
                    <a:pt x="38" y="89"/>
                    <a:pt x="39" y="91"/>
                    <a:pt x="38" y="93"/>
                  </a:cubicBezTo>
                  <a:cubicBezTo>
                    <a:pt x="38" y="95"/>
                    <a:pt x="36" y="96"/>
                    <a:pt x="34" y="96"/>
                  </a:cubicBezTo>
                  <a:lnTo>
                    <a:pt x="33" y="96"/>
                  </a:lnTo>
                  <a:lnTo>
                    <a:pt x="18" y="92"/>
                  </a:lnTo>
                  <a:cubicBezTo>
                    <a:pt x="16" y="91"/>
                    <a:pt x="15" y="90"/>
                    <a:pt x="15" y="89"/>
                  </a:cubicBezTo>
                  <a:cubicBezTo>
                    <a:pt x="14" y="84"/>
                    <a:pt x="6" y="68"/>
                    <a:pt x="1" y="59"/>
                  </a:cubicBezTo>
                  <a:cubicBezTo>
                    <a:pt x="0" y="58"/>
                    <a:pt x="0" y="57"/>
                    <a:pt x="1" y="56"/>
                  </a:cubicBezTo>
                  <a:cubicBezTo>
                    <a:pt x="6" y="48"/>
                    <a:pt x="2" y="20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9" y="8"/>
                    <a:pt x="14" y="43"/>
                    <a:pt x="8" y="57"/>
                  </a:cubicBezTo>
                  <a:cubicBezTo>
                    <a:pt x="12" y="63"/>
                    <a:pt x="20" y="77"/>
                    <a:pt x="22" y="86"/>
                  </a:cubicBezTo>
                  <a:lnTo>
                    <a:pt x="36" y="89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4" name="îs1iḋê">
              <a:extLst>
                <a:ext uri="{FF2B5EF4-FFF2-40B4-BE49-F238E27FC236}">
                  <a16:creationId xmlns="" xmlns:a16="http://schemas.microsoft.com/office/drawing/2014/main" id="{15032F86-12CB-465A-B7A6-34319DBB373A}"/>
                </a:ext>
              </a:extLst>
            </p:cNvPr>
            <p:cNvSpPr/>
            <p:nvPr/>
          </p:nvSpPr>
          <p:spPr bwMode="auto">
            <a:xfrm>
              <a:off x="444500" y="5084763"/>
              <a:ext cx="14288" cy="11112"/>
            </a:xfrm>
            <a:custGeom>
              <a:avLst/>
              <a:gdLst>
                <a:gd name="T0" fmla="*/ 5 w 40"/>
                <a:gd name="T1" fmla="*/ 1 h 31"/>
                <a:gd name="T2" fmla="*/ 38 w 40"/>
                <a:gd name="T3" fmla="*/ 26 h 31"/>
                <a:gd name="T4" fmla="*/ 36 w 40"/>
                <a:gd name="T5" fmla="*/ 30 h 31"/>
                <a:gd name="T6" fmla="*/ 35 w 40"/>
                <a:gd name="T7" fmla="*/ 30 h 31"/>
                <a:gd name="T8" fmla="*/ 31 w 40"/>
                <a:gd name="T9" fmla="*/ 28 h 31"/>
                <a:gd name="T10" fmla="*/ 2 w 40"/>
                <a:gd name="T11" fmla="*/ 8 h 31"/>
                <a:gd name="T12" fmla="*/ 1 w 40"/>
                <a:gd name="T13" fmla="*/ 4 h 31"/>
                <a:gd name="T14" fmla="*/ 5 w 40"/>
                <a:gd name="T1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1">
                  <a:moveTo>
                    <a:pt x="5" y="1"/>
                  </a:moveTo>
                  <a:cubicBezTo>
                    <a:pt x="9" y="3"/>
                    <a:pt x="34" y="15"/>
                    <a:pt x="38" y="26"/>
                  </a:cubicBezTo>
                  <a:cubicBezTo>
                    <a:pt x="39" y="27"/>
                    <a:pt x="38" y="29"/>
                    <a:pt x="36" y="30"/>
                  </a:cubicBezTo>
                  <a:lnTo>
                    <a:pt x="35" y="30"/>
                  </a:lnTo>
                  <a:cubicBezTo>
                    <a:pt x="34" y="30"/>
                    <a:pt x="31" y="29"/>
                    <a:pt x="31" y="28"/>
                  </a:cubicBezTo>
                  <a:cubicBezTo>
                    <a:pt x="29" y="22"/>
                    <a:pt x="13" y="12"/>
                    <a:pt x="2" y="8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2" y="1"/>
                    <a:pt x="4" y="0"/>
                    <a:pt x="5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5" name="íṥliḑè">
              <a:extLst>
                <a:ext uri="{FF2B5EF4-FFF2-40B4-BE49-F238E27FC236}">
                  <a16:creationId xmlns="" xmlns:a16="http://schemas.microsoft.com/office/drawing/2014/main" id="{18F15C28-5CB6-4507-8C0B-07DC1D5D0FB2}"/>
                </a:ext>
              </a:extLst>
            </p:cNvPr>
            <p:cNvSpPr/>
            <p:nvPr/>
          </p:nvSpPr>
          <p:spPr bwMode="auto">
            <a:xfrm>
              <a:off x="600075" y="5033963"/>
              <a:ext cx="49213" cy="69850"/>
            </a:xfrm>
            <a:custGeom>
              <a:avLst/>
              <a:gdLst>
                <a:gd name="T0" fmla="*/ 56 w 138"/>
                <a:gd name="T1" fmla="*/ 84 h 194"/>
                <a:gd name="T2" fmla="*/ 112 w 138"/>
                <a:gd name="T3" fmla="*/ 0 h 194"/>
                <a:gd name="T4" fmla="*/ 137 w 138"/>
                <a:gd name="T5" fmla="*/ 79 h 194"/>
                <a:gd name="T6" fmla="*/ 85 w 138"/>
                <a:gd name="T7" fmla="*/ 139 h 194"/>
                <a:gd name="T8" fmla="*/ 32 w 138"/>
                <a:gd name="T9" fmla="*/ 188 h 194"/>
                <a:gd name="T10" fmla="*/ 13 w 138"/>
                <a:gd name="T11" fmla="*/ 147 h 194"/>
                <a:gd name="T12" fmla="*/ 56 w 138"/>
                <a:gd name="T13" fmla="*/ 8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94">
                  <a:moveTo>
                    <a:pt x="56" y="84"/>
                  </a:moveTo>
                  <a:cubicBezTo>
                    <a:pt x="47" y="42"/>
                    <a:pt x="112" y="0"/>
                    <a:pt x="112" y="0"/>
                  </a:cubicBezTo>
                  <a:lnTo>
                    <a:pt x="137" y="79"/>
                  </a:lnTo>
                  <a:cubicBezTo>
                    <a:pt x="129" y="85"/>
                    <a:pt x="98" y="121"/>
                    <a:pt x="85" y="139"/>
                  </a:cubicBezTo>
                  <a:cubicBezTo>
                    <a:pt x="73" y="155"/>
                    <a:pt x="50" y="182"/>
                    <a:pt x="32" y="188"/>
                  </a:cubicBezTo>
                  <a:cubicBezTo>
                    <a:pt x="12" y="193"/>
                    <a:pt x="0" y="171"/>
                    <a:pt x="13" y="147"/>
                  </a:cubicBezTo>
                  <a:cubicBezTo>
                    <a:pt x="19" y="139"/>
                    <a:pt x="56" y="84"/>
                    <a:pt x="56" y="84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6" name="îṣlîḍè">
              <a:extLst>
                <a:ext uri="{FF2B5EF4-FFF2-40B4-BE49-F238E27FC236}">
                  <a16:creationId xmlns="" xmlns:a16="http://schemas.microsoft.com/office/drawing/2014/main" id="{72709729-D1C3-45C8-99AE-87B15E050C1F}"/>
                </a:ext>
              </a:extLst>
            </p:cNvPr>
            <p:cNvSpPr/>
            <p:nvPr/>
          </p:nvSpPr>
          <p:spPr bwMode="auto">
            <a:xfrm>
              <a:off x="600075" y="5032375"/>
              <a:ext cx="49213" cy="71438"/>
            </a:xfrm>
            <a:custGeom>
              <a:avLst/>
              <a:gdLst>
                <a:gd name="T0" fmla="*/ 130 w 138"/>
                <a:gd name="T1" fmla="*/ 81 h 199"/>
                <a:gd name="T2" fmla="*/ 136 w 138"/>
                <a:gd name="T3" fmla="*/ 82 h 199"/>
                <a:gd name="T4" fmla="*/ 135 w 138"/>
                <a:gd name="T5" fmla="*/ 88 h 199"/>
                <a:gd name="T6" fmla="*/ 85 w 138"/>
                <a:gd name="T7" fmla="*/ 147 h 199"/>
                <a:gd name="T8" fmla="*/ 30 w 138"/>
                <a:gd name="T9" fmla="*/ 197 h 199"/>
                <a:gd name="T10" fmla="*/ 24 w 138"/>
                <a:gd name="T11" fmla="*/ 198 h 199"/>
                <a:gd name="T12" fmla="*/ 8 w 138"/>
                <a:gd name="T13" fmla="*/ 191 h 199"/>
                <a:gd name="T14" fmla="*/ 9 w 138"/>
                <a:gd name="T15" fmla="*/ 151 h 199"/>
                <a:gd name="T16" fmla="*/ 48 w 138"/>
                <a:gd name="T17" fmla="*/ 88 h 199"/>
                <a:gd name="T18" fmla="*/ 106 w 138"/>
                <a:gd name="T19" fmla="*/ 1 h 199"/>
                <a:gd name="T20" fmla="*/ 112 w 138"/>
                <a:gd name="T21" fmla="*/ 2 h 199"/>
                <a:gd name="T22" fmla="*/ 111 w 138"/>
                <a:gd name="T23" fmla="*/ 8 h 199"/>
                <a:gd name="T24" fmla="*/ 56 w 138"/>
                <a:gd name="T25" fmla="*/ 88 h 199"/>
                <a:gd name="T26" fmla="*/ 56 w 138"/>
                <a:gd name="T27" fmla="*/ 91 h 199"/>
                <a:gd name="T28" fmla="*/ 15 w 138"/>
                <a:gd name="T29" fmla="*/ 155 h 199"/>
                <a:gd name="T30" fmla="*/ 14 w 138"/>
                <a:gd name="T31" fmla="*/ 187 h 199"/>
                <a:gd name="T32" fmla="*/ 29 w 138"/>
                <a:gd name="T33" fmla="*/ 190 h 199"/>
                <a:gd name="T34" fmla="*/ 79 w 138"/>
                <a:gd name="T35" fmla="*/ 142 h 199"/>
                <a:gd name="T36" fmla="*/ 130 w 138"/>
                <a:gd name="T37" fmla="*/ 8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8" h="199">
                  <a:moveTo>
                    <a:pt x="130" y="81"/>
                  </a:moveTo>
                  <a:cubicBezTo>
                    <a:pt x="133" y="80"/>
                    <a:pt x="135" y="81"/>
                    <a:pt x="136" y="82"/>
                  </a:cubicBezTo>
                  <a:cubicBezTo>
                    <a:pt x="137" y="84"/>
                    <a:pt x="137" y="87"/>
                    <a:pt x="135" y="88"/>
                  </a:cubicBezTo>
                  <a:cubicBezTo>
                    <a:pt x="127" y="93"/>
                    <a:pt x="98" y="128"/>
                    <a:pt x="85" y="147"/>
                  </a:cubicBezTo>
                  <a:cubicBezTo>
                    <a:pt x="82" y="151"/>
                    <a:pt x="54" y="190"/>
                    <a:pt x="30" y="197"/>
                  </a:cubicBezTo>
                  <a:cubicBezTo>
                    <a:pt x="29" y="198"/>
                    <a:pt x="26" y="198"/>
                    <a:pt x="24" y="198"/>
                  </a:cubicBezTo>
                  <a:cubicBezTo>
                    <a:pt x="17" y="198"/>
                    <a:pt x="13" y="196"/>
                    <a:pt x="8" y="191"/>
                  </a:cubicBezTo>
                  <a:cubicBezTo>
                    <a:pt x="0" y="182"/>
                    <a:pt x="1" y="166"/>
                    <a:pt x="9" y="151"/>
                  </a:cubicBezTo>
                  <a:cubicBezTo>
                    <a:pt x="14" y="143"/>
                    <a:pt x="44" y="97"/>
                    <a:pt x="48" y="88"/>
                  </a:cubicBezTo>
                  <a:cubicBezTo>
                    <a:pt x="41" y="44"/>
                    <a:pt x="104" y="3"/>
                    <a:pt x="106" y="1"/>
                  </a:cubicBezTo>
                  <a:cubicBezTo>
                    <a:pt x="108" y="0"/>
                    <a:pt x="111" y="1"/>
                    <a:pt x="112" y="2"/>
                  </a:cubicBezTo>
                  <a:cubicBezTo>
                    <a:pt x="113" y="5"/>
                    <a:pt x="113" y="7"/>
                    <a:pt x="111" y="8"/>
                  </a:cubicBezTo>
                  <a:cubicBezTo>
                    <a:pt x="109" y="8"/>
                    <a:pt x="50" y="49"/>
                    <a:pt x="56" y="88"/>
                  </a:cubicBezTo>
                  <a:cubicBezTo>
                    <a:pt x="56" y="89"/>
                    <a:pt x="56" y="90"/>
                    <a:pt x="56" y="91"/>
                  </a:cubicBezTo>
                  <a:cubicBezTo>
                    <a:pt x="55" y="91"/>
                    <a:pt x="21" y="147"/>
                    <a:pt x="15" y="155"/>
                  </a:cubicBezTo>
                  <a:cubicBezTo>
                    <a:pt x="8" y="168"/>
                    <a:pt x="9" y="181"/>
                    <a:pt x="14" y="187"/>
                  </a:cubicBezTo>
                  <a:cubicBezTo>
                    <a:pt x="17" y="190"/>
                    <a:pt x="23" y="191"/>
                    <a:pt x="29" y="190"/>
                  </a:cubicBezTo>
                  <a:cubicBezTo>
                    <a:pt x="44" y="185"/>
                    <a:pt x="66" y="162"/>
                    <a:pt x="79" y="142"/>
                  </a:cubicBezTo>
                  <a:cubicBezTo>
                    <a:pt x="90" y="126"/>
                    <a:pt x="121" y="88"/>
                    <a:pt x="130" y="8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7" name="îṣḻiḍé">
              <a:extLst>
                <a:ext uri="{FF2B5EF4-FFF2-40B4-BE49-F238E27FC236}">
                  <a16:creationId xmlns="" xmlns:a16="http://schemas.microsoft.com/office/drawing/2014/main" id="{261BA1C7-321D-44B1-BB44-EF139398A427}"/>
                </a:ext>
              </a:extLst>
            </p:cNvPr>
            <p:cNvSpPr/>
            <p:nvPr/>
          </p:nvSpPr>
          <p:spPr bwMode="auto">
            <a:xfrm>
              <a:off x="630238" y="5070475"/>
              <a:ext cx="12700" cy="23813"/>
            </a:xfrm>
            <a:custGeom>
              <a:avLst/>
              <a:gdLst>
                <a:gd name="T0" fmla="*/ 30 w 36"/>
                <a:gd name="T1" fmla="*/ 0 h 67"/>
                <a:gd name="T2" fmla="*/ 33 w 36"/>
                <a:gd name="T3" fmla="*/ 5 h 67"/>
                <a:gd name="T4" fmla="*/ 31 w 36"/>
                <a:gd name="T5" fmla="*/ 36 h 67"/>
                <a:gd name="T6" fmla="*/ 28 w 36"/>
                <a:gd name="T7" fmla="*/ 38 h 67"/>
                <a:gd name="T8" fmla="*/ 9 w 36"/>
                <a:gd name="T9" fmla="*/ 62 h 67"/>
                <a:gd name="T10" fmla="*/ 5 w 36"/>
                <a:gd name="T11" fmla="*/ 66 h 67"/>
                <a:gd name="T12" fmla="*/ 2 w 36"/>
                <a:gd name="T13" fmla="*/ 65 h 67"/>
                <a:gd name="T14" fmla="*/ 1 w 36"/>
                <a:gd name="T15" fmla="*/ 60 h 67"/>
                <a:gd name="T16" fmla="*/ 22 w 36"/>
                <a:gd name="T17" fmla="*/ 32 h 67"/>
                <a:gd name="T18" fmla="*/ 26 w 36"/>
                <a:gd name="T19" fmla="*/ 4 h 67"/>
                <a:gd name="T20" fmla="*/ 30 w 36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7">
                  <a:moveTo>
                    <a:pt x="30" y="0"/>
                  </a:moveTo>
                  <a:cubicBezTo>
                    <a:pt x="32" y="2"/>
                    <a:pt x="35" y="3"/>
                    <a:pt x="33" y="5"/>
                  </a:cubicBezTo>
                  <a:lnTo>
                    <a:pt x="31" y="36"/>
                  </a:lnTo>
                  <a:cubicBezTo>
                    <a:pt x="31" y="36"/>
                    <a:pt x="30" y="37"/>
                    <a:pt x="28" y="38"/>
                  </a:cubicBezTo>
                  <a:cubicBezTo>
                    <a:pt x="16" y="47"/>
                    <a:pt x="9" y="62"/>
                    <a:pt x="9" y="62"/>
                  </a:cubicBezTo>
                  <a:cubicBezTo>
                    <a:pt x="7" y="65"/>
                    <a:pt x="6" y="66"/>
                    <a:pt x="5" y="66"/>
                  </a:cubicBezTo>
                  <a:cubicBezTo>
                    <a:pt x="4" y="66"/>
                    <a:pt x="4" y="65"/>
                    <a:pt x="2" y="65"/>
                  </a:cubicBezTo>
                  <a:cubicBezTo>
                    <a:pt x="1" y="65"/>
                    <a:pt x="0" y="62"/>
                    <a:pt x="1" y="60"/>
                  </a:cubicBezTo>
                  <a:cubicBezTo>
                    <a:pt x="1" y="59"/>
                    <a:pt x="9" y="43"/>
                    <a:pt x="22" y="32"/>
                  </a:cubicBezTo>
                  <a:lnTo>
                    <a:pt x="26" y="4"/>
                  </a:lnTo>
                  <a:cubicBezTo>
                    <a:pt x="26" y="3"/>
                    <a:pt x="28" y="0"/>
                    <a:pt x="30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8" name="ísḷide">
              <a:extLst>
                <a:ext uri="{FF2B5EF4-FFF2-40B4-BE49-F238E27FC236}">
                  <a16:creationId xmlns="" xmlns:a16="http://schemas.microsoft.com/office/drawing/2014/main" id="{4C69721D-A74C-4297-968F-398706E8982A}"/>
                </a:ext>
              </a:extLst>
            </p:cNvPr>
            <p:cNvSpPr/>
            <p:nvPr/>
          </p:nvSpPr>
          <p:spPr bwMode="auto">
            <a:xfrm>
              <a:off x="647700" y="5080000"/>
              <a:ext cx="19050" cy="30163"/>
            </a:xfrm>
            <a:custGeom>
              <a:avLst/>
              <a:gdLst>
                <a:gd name="T0" fmla="*/ 48 w 51"/>
                <a:gd name="T1" fmla="*/ 0 h 82"/>
                <a:gd name="T2" fmla="*/ 50 w 51"/>
                <a:gd name="T3" fmla="*/ 6 h 82"/>
                <a:gd name="T4" fmla="*/ 31 w 51"/>
                <a:gd name="T5" fmla="*/ 44 h 82"/>
                <a:gd name="T6" fmla="*/ 26 w 51"/>
                <a:gd name="T7" fmla="*/ 52 h 82"/>
                <a:gd name="T8" fmla="*/ 8 w 51"/>
                <a:gd name="T9" fmla="*/ 77 h 82"/>
                <a:gd name="T10" fmla="*/ 5 w 51"/>
                <a:gd name="T11" fmla="*/ 81 h 82"/>
                <a:gd name="T12" fmla="*/ 3 w 51"/>
                <a:gd name="T13" fmla="*/ 80 h 82"/>
                <a:gd name="T14" fmla="*/ 1 w 51"/>
                <a:gd name="T15" fmla="*/ 75 h 82"/>
                <a:gd name="T16" fmla="*/ 19 w 51"/>
                <a:gd name="T17" fmla="*/ 47 h 82"/>
                <a:gd name="T18" fmla="*/ 26 w 51"/>
                <a:gd name="T19" fmla="*/ 39 h 82"/>
                <a:gd name="T20" fmla="*/ 42 w 51"/>
                <a:gd name="T21" fmla="*/ 3 h 82"/>
                <a:gd name="T22" fmla="*/ 48 w 51"/>
                <a:gd name="T2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82">
                  <a:moveTo>
                    <a:pt x="48" y="0"/>
                  </a:moveTo>
                  <a:cubicBezTo>
                    <a:pt x="49" y="1"/>
                    <a:pt x="50" y="3"/>
                    <a:pt x="50" y="6"/>
                  </a:cubicBezTo>
                  <a:cubicBezTo>
                    <a:pt x="47" y="16"/>
                    <a:pt x="41" y="32"/>
                    <a:pt x="31" y="44"/>
                  </a:cubicBezTo>
                  <a:cubicBezTo>
                    <a:pt x="29" y="47"/>
                    <a:pt x="27" y="50"/>
                    <a:pt x="26" y="52"/>
                  </a:cubicBezTo>
                  <a:cubicBezTo>
                    <a:pt x="18" y="60"/>
                    <a:pt x="11" y="67"/>
                    <a:pt x="8" y="77"/>
                  </a:cubicBezTo>
                  <a:cubicBezTo>
                    <a:pt x="8" y="80"/>
                    <a:pt x="7" y="81"/>
                    <a:pt x="5" y="81"/>
                  </a:cubicBezTo>
                  <a:cubicBezTo>
                    <a:pt x="5" y="81"/>
                    <a:pt x="3" y="81"/>
                    <a:pt x="3" y="80"/>
                  </a:cubicBezTo>
                  <a:cubicBezTo>
                    <a:pt x="1" y="80"/>
                    <a:pt x="0" y="77"/>
                    <a:pt x="1" y="75"/>
                  </a:cubicBezTo>
                  <a:cubicBezTo>
                    <a:pt x="6" y="63"/>
                    <a:pt x="12" y="55"/>
                    <a:pt x="19" y="47"/>
                  </a:cubicBezTo>
                  <a:cubicBezTo>
                    <a:pt x="21" y="45"/>
                    <a:pt x="24" y="42"/>
                    <a:pt x="26" y="39"/>
                  </a:cubicBezTo>
                  <a:cubicBezTo>
                    <a:pt x="35" y="29"/>
                    <a:pt x="39" y="17"/>
                    <a:pt x="42" y="3"/>
                  </a:cubicBezTo>
                  <a:cubicBezTo>
                    <a:pt x="44" y="1"/>
                    <a:pt x="46" y="0"/>
                    <a:pt x="48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9" name="íşľîďê">
              <a:extLst>
                <a:ext uri="{FF2B5EF4-FFF2-40B4-BE49-F238E27FC236}">
                  <a16:creationId xmlns="" xmlns:a16="http://schemas.microsoft.com/office/drawing/2014/main" id="{994063CA-145A-4E70-835A-A4D305E7C8B5}"/>
                </a:ext>
              </a:extLst>
            </p:cNvPr>
            <p:cNvSpPr/>
            <p:nvPr/>
          </p:nvSpPr>
          <p:spPr bwMode="auto">
            <a:xfrm>
              <a:off x="636588" y="5081588"/>
              <a:ext cx="12700" cy="9525"/>
            </a:xfrm>
            <a:custGeom>
              <a:avLst/>
              <a:gdLst>
                <a:gd name="T0" fmla="*/ 5 w 36"/>
                <a:gd name="T1" fmla="*/ 0 h 26"/>
                <a:gd name="T2" fmla="*/ 35 w 36"/>
                <a:gd name="T3" fmla="*/ 20 h 26"/>
                <a:gd name="T4" fmla="*/ 32 w 36"/>
                <a:gd name="T5" fmla="*/ 25 h 26"/>
                <a:gd name="T6" fmla="*/ 30 w 36"/>
                <a:gd name="T7" fmla="*/ 25 h 26"/>
                <a:gd name="T8" fmla="*/ 27 w 36"/>
                <a:gd name="T9" fmla="*/ 23 h 26"/>
                <a:gd name="T10" fmla="*/ 5 w 36"/>
                <a:gd name="T11" fmla="*/ 7 h 26"/>
                <a:gd name="T12" fmla="*/ 0 w 36"/>
                <a:gd name="T13" fmla="*/ 3 h 26"/>
                <a:gd name="T14" fmla="*/ 5 w 36"/>
                <a:gd name="T15" fmla="*/ 0 h 26"/>
                <a:gd name="T16" fmla="*/ 5 w 36"/>
                <a:gd name="T1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6">
                  <a:moveTo>
                    <a:pt x="5" y="0"/>
                  </a:moveTo>
                  <a:cubicBezTo>
                    <a:pt x="17" y="0"/>
                    <a:pt x="32" y="9"/>
                    <a:pt x="35" y="20"/>
                  </a:cubicBezTo>
                  <a:cubicBezTo>
                    <a:pt x="35" y="23"/>
                    <a:pt x="34" y="25"/>
                    <a:pt x="32" y="25"/>
                  </a:cubicBezTo>
                  <a:cubicBezTo>
                    <a:pt x="32" y="25"/>
                    <a:pt x="32" y="25"/>
                    <a:pt x="30" y="25"/>
                  </a:cubicBezTo>
                  <a:cubicBezTo>
                    <a:pt x="29" y="25"/>
                    <a:pt x="27" y="24"/>
                    <a:pt x="27" y="23"/>
                  </a:cubicBezTo>
                  <a:cubicBezTo>
                    <a:pt x="26" y="14"/>
                    <a:pt x="13" y="7"/>
                    <a:pt x="5" y="7"/>
                  </a:cubicBezTo>
                  <a:cubicBezTo>
                    <a:pt x="3" y="7"/>
                    <a:pt x="0" y="5"/>
                    <a:pt x="0" y="3"/>
                  </a:cubicBezTo>
                  <a:cubicBezTo>
                    <a:pt x="0" y="1"/>
                    <a:pt x="3" y="0"/>
                    <a:pt x="5" y="0"/>
                  </a:cubicBezTo>
                  <a:lnTo>
                    <a:pt x="5" y="0"/>
                  </a:ln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0" name="ïşlíḑê">
              <a:extLst>
                <a:ext uri="{FF2B5EF4-FFF2-40B4-BE49-F238E27FC236}">
                  <a16:creationId xmlns="" xmlns:a16="http://schemas.microsoft.com/office/drawing/2014/main" id="{EE3A0D29-6C93-4979-8D40-E196CDA69B32}"/>
                </a:ext>
              </a:extLst>
            </p:cNvPr>
            <p:cNvSpPr/>
            <p:nvPr/>
          </p:nvSpPr>
          <p:spPr bwMode="auto">
            <a:xfrm>
              <a:off x="628650" y="5065713"/>
              <a:ext cx="9525" cy="4762"/>
            </a:xfrm>
            <a:custGeom>
              <a:avLst/>
              <a:gdLst>
                <a:gd name="T0" fmla="*/ 6 w 25"/>
                <a:gd name="T1" fmla="*/ 1 h 15"/>
                <a:gd name="T2" fmla="*/ 22 w 25"/>
                <a:gd name="T3" fmla="*/ 7 h 15"/>
                <a:gd name="T4" fmla="*/ 23 w 25"/>
                <a:gd name="T5" fmla="*/ 12 h 15"/>
                <a:gd name="T6" fmla="*/ 19 w 25"/>
                <a:gd name="T7" fmla="*/ 14 h 15"/>
                <a:gd name="T8" fmla="*/ 16 w 25"/>
                <a:gd name="T9" fmla="*/ 13 h 15"/>
                <a:gd name="T10" fmla="*/ 4 w 25"/>
                <a:gd name="T11" fmla="*/ 7 h 15"/>
                <a:gd name="T12" fmla="*/ 1 w 25"/>
                <a:gd name="T13" fmla="*/ 3 h 15"/>
                <a:gd name="T14" fmla="*/ 6 w 25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5">
                  <a:moveTo>
                    <a:pt x="6" y="1"/>
                  </a:moveTo>
                  <a:cubicBezTo>
                    <a:pt x="13" y="2"/>
                    <a:pt x="18" y="5"/>
                    <a:pt x="22" y="7"/>
                  </a:cubicBezTo>
                  <a:cubicBezTo>
                    <a:pt x="24" y="9"/>
                    <a:pt x="24" y="11"/>
                    <a:pt x="23" y="12"/>
                  </a:cubicBezTo>
                  <a:cubicBezTo>
                    <a:pt x="22" y="13"/>
                    <a:pt x="20" y="14"/>
                    <a:pt x="19" y="14"/>
                  </a:cubicBezTo>
                  <a:cubicBezTo>
                    <a:pt x="18" y="14"/>
                    <a:pt x="18" y="13"/>
                    <a:pt x="16" y="13"/>
                  </a:cubicBezTo>
                  <a:cubicBezTo>
                    <a:pt x="13" y="10"/>
                    <a:pt x="9" y="9"/>
                    <a:pt x="4" y="7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6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1" name="îṩlîḍe">
              <a:extLst>
                <a:ext uri="{FF2B5EF4-FFF2-40B4-BE49-F238E27FC236}">
                  <a16:creationId xmlns="" xmlns:a16="http://schemas.microsoft.com/office/drawing/2014/main" id="{99071E64-3579-4C2D-BFD0-5BEE2EA43C9F}"/>
                </a:ext>
              </a:extLst>
            </p:cNvPr>
            <p:cNvSpPr/>
            <p:nvPr/>
          </p:nvSpPr>
          <p:spPr bwMode="auto">
            <a:xfrm>
              <a:off x="606425" y="5081588"/>
              <a:ext cx="15875" cy="19050"/>
            </a:xfrm>
            <a:custGeom>
              <a:avLst/>
              <a:gdLst>
                <a:gd name="T0" fmla="*/ 0 w 46"/>
                <a:gd name="T1" fmla="*/ 32 h 51"/>
                <a:gd name="T2" fmla="*/ 19 w 46"/>
                <a:gd name="T3" fmla="*/ 0 h 51"/>
                <a:gd name="T4" fmla="*/ 45 w 46"/>
                <a:gd name="T5" fmla="*/ 20 h 51"/>
                <a:gd name="T6" fmla="*/ 24 w 46"/>
                <a:gd name="T7" fmla="*/ 45 h 51"/>
                <a:gd name="T8" fmla="*/ 0 w 46"/>
                <a:gd name="T9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1">
                  <a:moveTo>
                    <a:pt x="0" y="32"/>
                  </a:moveTo>
                  <a:cubicBezTo>
                    <a:pt x="0" y="16"/>
                    <a:pt x="19" y="0"/>
                    <a:pt x="19" y="0"/>
                  </a:cubicBezTo>
                  <a:lnTo>
                    <a:pt x="45" y="20"/>
                  </a:lnTo>
                  <a:cubicBezTo>
                    <a:pt x="45" y="20"/>
                    <a:pt x="29" y="41"/>
                    <a:pt x="24" y="45"/>
                  </a:cubicBezTo>
                  <a:cubicBezTo>
                    <a:pt x="19" y="50"/>
                    <a:pt x="0" y="47"/>
                    <a:pt x="0" y="32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2" name="îšlîďê">
              <a:extLst>
                <a:ext uri="{FF2B5EF4-FFF2-40B4-BE49-F238E27FC236}">
                  <a16:creationId xmlns="" xmlns:a16="http://schemas.microsoft.com/office/drawing/2014/main" id="{BFEC2A91-23CC-4A56-A0F7-D18DB5797A8D}"/>
                </a:ext>
              </a:extLst>
            </p:cNvPr>
            <p:cNvSpPr/>
            <p:nvPr/>
          </p:nvSpPr>
          <p:spPr bwMode="auto">
            <a:xfrm>
              <a:off x="604838" y="5080000"/>
              <a:ext cx="19050" cy="20638"/>
            </a:xfrm>
            <a:custGeom>
              <a:avLst/>
              <a:gdLst>
                <a:gd name="T0" fmla="*/ 23 w 51"/>
                <a:gd name="T1" fmla="*/ 47 h 56"/>
                <a:gd name="T2" fmla="*/ 41 w 51"/>
                <a:gd name="T3" fmla="*/ 25 h 56"/>
                <a:gd name="T4" fmla="*/ 22 w 51"/>
                <a:gd name="T5" fmla="*/ 9 h 56"/>
                <a:gd name="T6" fmla="*/ 8 w 51"/>
                <a:gd name="T7" fmla="*/ 36 h 56"/>
                <a:gd name="T8" fmla="*/ 21 w 51"/>
                <a:gd name="T9" fmla="*/ 47 h 56"/>
                <a:gd name="T10" fmla="*/ 23 w 51"/>
                <a:gd name="T11" fmla="*/ 47 h 56"/>
                <a:gd name="T12" fmla="*/ 24 w 51"/>
                <a:gd name="T13" fmla="*/ 1 h 56"/>
                <a:gd name="T14" fmla="*/ 49 w 51"/>
                <a:gd name="T15" fmla="*/ 21 h 56"/>
                <a:gd name="T16" fmla="*/ 50 w 51"/>
                <a:gd name="T17" fmla="*/ 23 h 56"/>
                <a:gd name="T18" fmla="*/ 49 w 51"/>
                <a:gd name="T19" fmla="*/ 27 h 56"/>
                <a:gd name="T20" fmla="*/ 29 w 51"/>
                <a:gd name="T21" fmla="*/ 53 h 56"/>
                <a:gd name="T22" fmla="*/ 21 w 51"/>
                <a:gd name="T23" fmla="*/ 55 h 56"/>
                <a:gd name="T24" fmla="*/ 0 w 51"/>
                <a:gd name="T25" fmla="*/ 36 h 56"/>
                <a:gd name="T26" fmla="*/ 20 w 51"/>
                <a:gd name="T27" fmla="*/ 1 h 56"/>
                <a:gd name="T28" fmla="*/ 24 w 51"/>
                <a:gd name="T29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56">
                  <a:moveTo>
                    <a:pt x="23" y="47"/>
                  </a:moveTo>
                  <a:cubicBezTo>
                    <a:pt x="26" y="43"/>
                    <a:pt x="36" y="33"/>
                    <a:pt x="41" y="25"/>
                  </a:cubicBezTo>
                  <a:lnTo>
                    <a:pt x="22" y="9"/>
                  </a:lnTo>
                  <a:cubicBezTo>
                    <a:pt x="17" y="14"/>
                    <a:pt x="8" y="25"/>
                    <a:pt x="8" y="36"/>
                  </a:cubicBezTo>
                  <a:cubicBezTo>
                    <a:pt x="8" y="46"/>
                    <a:pt x="16" y="47"/>
                    <a:pt x="21" y="47"/>
                  </a:cubicBezTo>
                  <a:cubicBezTo>
                    <a:pt x="22" y="47"/>
                    <a:pt x="23" y="47"/>
                    <a:pt x="23" y="47"/>
                  </a:cubicBezTo>
                  <a:close/>
                  <a:moveTo>
                    <a:pt x="24" y="1"/>
                  </a:moveTo>
                  <a:lnTo>
                    <a:pt x="49" y="21"/>
                  </a:lnTo>
                  <a:cubicBezTo>
                    <a:pt x="49" y="21"/>
                    <a:pt x="50" y="22"/>
                    <a:pt x="50" y="23"/>
                  </a:cubicBezTo>
                  <a:cubicBezTo>
                    <a:pt x="50" y="25"/>
                    <a:pt x="50" y="26"/>
                    <a:pt x="49" y="27"/>
                  </a:cubicBezTo>
                  <a:cubicBezTo>
                    <a:pt x="49" y="27"/>
                    <a:pt x="33" y="47"/>
                    <a:pt x="29" y="53"/>
                  </a:cubicBezTo>
                  <a:cubicBezTo>
                    <a:pt x="26" y="54"/>
                    <a:pt x="24" y="55"/>
                    <a:pt x="21" y="55"/>
                  </a:cubicBezTo>
                  <a:cubicBezTo>
                    <a:pt x="10" y="55"/>
                    <a:pt x="0" y="48"/>
                    <a:pt x="0" y="36"/>
                  </a:cubicBezTo>
                  <a:cubicBezTo>
                    <a:pt x="0" y="18"/>
                    <a:pt x="18" y="2"/>
                    <a:pt x="20" y="1"/>
                  </a:cubicBezTo>
                  <a:cubicBezTo>
                    <a:pt x="21" y="0"/>
                    <a:pt x="23" y="0"/>
                    <a:pt x="24" y="1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3" name="ïṩḷíďe">
              <a:extLst>
                <a:ext uri="{FF2B5EF4-FFF2-40B4-BE49-F238E27FC236}">
                  <a16:creationId xmlns="" xmlns:a16="http://schemas.microsoft.com/office/drawing/2014/main" id="{42450B36-5476-4E50-9CCE-6FDC6D10A06E}"/>
                </a:ext>
              </a:extLst>
            </p:cNvPr>
            <p:cNvSpPr/>
            <p:nvPr/>
          </p:nvSpPr>
          <p:spPr bwMode="auto">
            <a:xfrm>
              <a:off x="473075" y="5080000"/>
              <a:ext cx="19050" cy="12700"/>
            </a:xfrm>
            <a:custGeom>
              <a:avLst/>
              <a:gdLst>
                <a:gd name="T0" fmla="*/ 1 w 51"/>
                <a:gd name="T1" fmla="*/ 14 h 36"/>
                <a:gd name="T2" fmla="*/ 22 w 51"/>
                <a:gd name="T3" fmla="*/ 0 h 36"/>
                <a:gd name="T4" fmla="*/ 29 w 51"/>
                <a:gd name="T5" fmla="*/ 35 h 36"/>
                <a:gd name="T6" fmla="*/ 1 w 51"/>
                <a:gd name="T7" fmla="*/ 1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6">
                  <a:moveTo>
                    <a:pt x="1" y="14"/>
                  </a:moveTo>
                  <a:cubicBezTo>
                    <a:pt x="2" y="1"/>
                    <a:pt x="22" y="0"/>
                    <a:pt x="22" y="0"/>
                  </a:cubicBezTo>
                  <a:cubicBezTo>
                    <a:pt x="22" y="0"/>
                    <a:pt x="50" y="33"/>
                    <a:pt x="29" y="35"/>
                  </a:cubicBezTo>
                  <a:cubicBezTo>
                    <a:pt x="15" y="35"/>
                    <a:pt x="0" y="20"/>
                    <a:pt x="1" y="14"/>
                  </a:cubicBezTo>
                </a:path>
              </a:pathLst>
            </a:custGeom>
            <a:solidFill>
              <a:srgbClr val="DFF3FD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4" name="i$ľiḑé">
              <a:extLst>
                <a:ext uri="{FF2B5EF4-FFF2-40B4-BE49-F238E27FC236}">
                  <a16:creationId xmlns="" xmlns:a16="http://schemas.microsoft.com/office/drawing/2014/main" id="{4E8A470F-C778-467C-8AA3-4235BCB87C6C}"/>
                </a:ext>
              </a:extLst>
            </p:cNvPr>
            <p:cNvSpPr/>
            <p:nvPr/>
          </p:nvSpPr>
          <p:spPr bwMode="auto">
            <a:xfrm>
              <a:off x="471488" y="5078413"/>
              <a:ext cx="19050" cy="14287"/>
            </a:xfrm>
            <a:custGeom>
              <a:avLst/>
              <a:gdLst>
                <a:gd name="T0" fmla="*/ 39 w 52"/>
                <a:gd name="T1" fmla="*/ 31 h 41"/>
                <a:gd name="T2" fmla="*/ 26 w 52"/>
                <a:gd name="T3" fmla="*/ 8 h 41"/>
                <a:gd name="T4" fmla="*/ 9 w 52"/>
                <a:gd name="T5" fmla="*/ 18 h 41"/>
                <a:gd name="T6" fmla="*/ 34 w 52"/>
                <a:gd name="T7" fmla="*/ 32 h 41"/>
                <a:gd name="T8" fmla="*/ 39 w 52"/>
                <a:gd name="T9" fmla="*/ 31 h 41"/>
                <a:gd name="T10" fmla="*/ 27 w 52"/>
                <a:gd name="T11" fmla="*/ 0 h 41"/>
                <a:gd name="T12" fmla="*/ 30 w 52"/>
                <a:gd name="T13" fmla="*/ 2 h 41"/>
                <a:gd name="T14" fmla="*/ 46 w 52"/>
                <a:gd name="T15" fmla="*/ 33 h 41"/>
                <a:gd name="T16" fmla="*/ 34 w 52"/>
                <a:gd name="T17" fmla="*/ 40 h 41"/>
                <a:gd name="T18" fmla="*/ 33 w 52"/>
                <a:gd name="T19" fmla="*/ 40 h 41"/>
                <a:gd name="T20" fmla="*/ 5 w 52"/>
                <a:gd name="T21" fmla="*/ 26 h 41"/>
                <a:gd name="T22" fmla="*/ 0 w 52"/>
                <a:gd name="T23" fmla="*/ 18 h 41"/>
                <a:gd name="T24" fmla="*/ 27 w 52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41">
                  <a:moveTo>
                    <a:pt x="39" y="31"/>
                  </a:moveTo>
                  <a:cubicBezTo>
                    <a:pt x="40" y="28"/>
                    <a:pt x="33" y="16"/>
                    <a:pt x="26" y="8"/>
                  </a:cubicBezTo>
                  <a:cubicBezTo>
                    <a:pt x="21" y="9"/>
                    <a:pt x="10" y="11"/>
                    <a:pt x="9" y="18"/>
                  </a:cubicBezTo>
                  <a:cubicBezTo>
                    <a:pt x="9" y="21"/>
                    <a:pt x="21" y="33"/>
                    <a:pt x="34" y="32"/>
                  </a:cubicBezTo>
                  <a:cubicBezTo>
                    <a:pt x="35" y="32"/>
                    <a:pt x="38" y="32"/>
                    <a:pt x="39" y="31"/>
                  </a:cubicBezTo>
                  <a:close/>
                  <a:moveTo>
                    <a:pt x="27" y="0"/>
                  </a:moveTo>
                  <a:cubicBezTo>
                    <a:pt x="28" y="0"/>
                    <a:pt x="30" y="1"/>
                    <a:pt x="30" y="2"/>
                  </a:cubicBezTo>
                  <a:cubicBezTo>
                    <a:pt x="33" y="5"/>
                    <a:pt x="51" y="23"/>
                    <a:pt x="46" y="33"/>
                  </a:cubicBezTo>
                  <a:cubicBezTo>
                    <a:pt x="45" y="36"/>
                    <a:pt x="41" y="40"/>
                    <a:pt x="34" y="40"/>
                  </a:cubicBezTo>
                  <a:lnTo>
                    <a:pt x="33" y="40"/>
                  </a:lnTo>
                  <a:cubicBezTo>
                    <a:pt x="23" y="40"/>
                    <a:pt x="11" y="33"/>
                    <a:pt x="5" y="26"/>
                  </a:cubicBezTo>
                  <a:cubicBezTo>
                    <a:pt x="2" y="23"/>
                    <a:pt x="0" y="20"/>
                    <a:pt x="0" y="18"/>
                  </a:cubicBezTo>
                  <a:cubicBezTo>
                    <a:pt x="3" y="2"/>
                    <a:pt x="26" y="1"/>
                    <a:pt x="27" y="0"/>
                  </a:cubicBezTo>
                  <a:close/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5" name="ïşḷîďè">
              <a:extLst>
                <a:ext uri="{FF2B5EF4-FFF2-40B4-BE49-F238E27FC236}">
                  <a16:creationId xmlns="" xmlns:a16="http://schemas.microsoft.com/office/drawing/2014/main" id="{66F4EDFF-271F-469F-9FD4-6049C11DE7E5}"/>
                </a:ext>
              </a:extLst>
            </p:cNvPr>
            <p:cNvSpPr/>
            <p:nvPr/>
          </p:nvSpPr>
          <p:spPr bwMode="auto">
            <a:xfrm>
              <a:off x="434975" y="5094288"/>
              <a:ext cx="11113" cy="9525"/>
            </a:xfrm>
            <a:custGeom>
              <a:avLst/>
              <a:gdLst>
                <a:gd name="T0" fmla="*/ 22 w 31"/>
                <a:gd name="T1" fmla="*/ 1 h 25"/>
                <a:gd name="T2" fmla="*/ 28 w 31"/>
                <a:gd name="T3" fmla="*/ 1 h 25"/>
                <a:gd name="T4" fmla="*/ 28 w 31"/>
                <a:gd name="T5" fmla="*/ 7 h 25"/>
                <a:gd name="T6" fmla="*/ 6 w 31"/>
                <a:gd name="T7" fmla="*/ 24 h 25"/>
                <a:gd name="T8" fmla="*/ 5 w 31"/>
                <a:gd name="T9" fmla="*/ 24 h 25"/>
                <a:gd name="T10" fmla="*/ 1 w 31"/>
                <a:gd name="T11" fmla="*/ 22 h 25"/>
                <a:gd name="T12" fmla="*/ 2 w 31"/>
                <a:gd name="T13" fmla="*/ 17 h 25"/>
                <a:gd name="T14" fmla="*/ 22 w 31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5">
                  <a:moveTo>
                    <a:pt x="22" y="1"/>
                  </a:moveTo>
                  <a:cubicBezTo>
                    <a:pt x="25" y="0"/>
                    <a:pt x="26" y="0"/>
                    <a:pt x="28" y="1"/>
                  </a:cubicBezTo>
                  <a:cubicBezTo>
                    <a:pt x="29" y="2"/>
                    <a:pt x="30" y="5"/>
                    <a:pt x="28" y="7"/>
                  </a:cubicBezTo>
                  <a:cubicBezTo>
                    <a:pt x="22" y="12"/>
                    <a:pt x="12" y="21"/>
                    <a:pt x="6" y="24"/>
                  </a:cubicBezTo>
                  <a:lnTo>
                    <a:pt x="5" y="24"/>
                  </a:lnTo>
                  <a:cubicBezTo>
                    <a:pt x="2" y="24"/>
                    <a:pt x="1" y="23"/>
                    <a:pt x="1" y="22"/>
                  </a:cubicBezTo>
                  <a:cubicBezTo>
                    <a:pt x="0" y="19"/>
                    <a:pt x="1" y="17"/>
                    <a:pt x="2" y="17"/>
                  </a:cubicBezTo>
                  <a:cubicBezTo>
                    <a:pt x="7" y="15"/>
                    <a:pt x="18" y="6"/>
                    <a:pt x="22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6" name="i$1ïḑê">
              <a:extLst>
                <a:ext uri="{FF2B5EF4-FFF2-40B4-BE49-F238E27FC236}">
                  <a16:creationId xmlns="" xmlns:a16="http://schemas.microsoft.com/office/drawing/2014/main" id="{5D73C509-394E-4CB0-92CE-124C9D866B7E}"/>
                </a:ext>
              </a:extLst>
            </p:cNvPr>
            <p:cNvSpPr/>
            <p:nvPr/>
          </p:nvSpPr>
          <p:spPr bwMode="auto">
            <a:xfrm>
              <a:off x="447675" y="5043488"/>
              <a:ext cx="9525" cy="9525"/>
            </a:xfrm>
            <a:custGeom>
              <a:avLst/>
              <a:gdLst>
                <a:gd name="T0" fmla="*/ 22 w 25"/>
                <a:gd name="T1" fmla="*/ 1 h 25"/>
                <a:gd name="T2" fmla="*/ 23 w 25"/>
                <a:gd name="T3" fmla="*/ 5 h 25"/>
                <a:gd name="T4" fmla="*/ 5 w 25"/>
                <a:gd name="T5" fmla="*/ 24 h 25"/>
                <a:gd name="T6" fmla="*/ 4 w 25"/>
                <a:gd name="T7" fmla="*/ 24 h 25"/>
                <a:gd name="T8" fmla="*/ 0 w 25"/>
                <a:gd name="T9" fmla="*/ 22 h 25"/>
                <a:gd name="T10" fmla="*/ 3 w 25"/>
                <a:gd name="T11" fmla="*/ 17 h 25"/>
                <a:gd name="T12" fmla="*/ 17 w 25"/>
                <a:gd name="T13" fmla="*/ 2 h 25"/>
                <a:gd name="T14" fmla="*/ 22 w 25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22" y="1"/>
                  </a:moveTo>
                  <a:cubicBezTo>
                    <a:pt x="23" y="1"/>
                    <a:pt x="24" y="3"/>
                    <a:pt x="23" y="5"/>
                  </a:cubicBezTo>
                  <a:cubicBezTo>
                    <a:pt x="19" y="15"/>
                    <a:pt x="13" y="22"/>
                    <a:pt x="5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1" y="24"/>
                    <a:pt x="0" y="22"/>
                  </a:cubicBezTo>
                  <a:cubicBezTo>
                    <a:pt x="0" y="19"/>
                    <a:pt x="1" y="18"/>
                    <a:pt x="3" y="17"/>
                  </a:cubicBezTo>
                  <a:cubicBezTo>
                    <a:pt x="8" y="15"/>
                    <a:pt x="14" y="9"/>
                    <a:pt x="17" y="2"/>
                  </a:cubicBezTo>
                  <a:cubicBezTo>
                    <a:pt x="18" y="0"/>
                    <a:pt x="20" y="0"/>
                    <a:pt x="22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7" name="íṧḷîḍe">
              <a:extLst>
                <a:ext uri="{FF2B5EF4-FFF2-40B4-BE49-F238E27FC236}">
                  <a16:creationId xmlns="" xmlns:a16="http://schemas.microsoft.com/office/drawing/2014/main" id="{EBACA1E0-A540-48E3-8775-A7D980AF1C14}"/>
                </a:ext>
              </a:extLst>
            </p:cNvPr>
            <p:cNvSpPr/>
            <p:nvPr/>
          </p:nvSpPr>
          <p:spPr bwMode="auto">
            <a:xfrm>
              <a:off x="444500" y="5106988"/>
              <a:ext cx="4763" cy="11112"/>
            </a:xfrm>
            <a:custGeom>
              <a:avLst/>
              <a:gdLst>
                <a:gd name="T0" fmla="*/ 8 w 15"/>
                <a:gd name="T1" fmla="*/ 2 h 30"/>
                <a:gd name="T2" fmla="*/ 13 w 15"/>
                <a:gd name="T3" fmla="*/ 1 h 30"/>
                <a:gd name="T4" fmla="*/ 13 w 15"/>
                <a:gd name="T5" fmla="*/ 7 h 30"/>
                <a:gd name="T6" fmla="*/ 7 w 15"/>
                <a:gd name="T7" fmla="*/ 26 h 30"/>
                <a:gd name="T8" fmla="*/ 4 w 15"/>
                <a:gd name="T9" fmla="*/ 29 h 30"/>
                <a:gd name="T10" fmla="*/ 3 w 15"/>
                <a:gd name="T11" fmla="*/ 29 h 30"/>
                <a:gd name="T12" fmla="*/ 0 w 15"/>
                <a:gd name="T13" fmla="*/ 26 h 30"/>
                <a:gd name="T14" fmla="*/ 8 w 15"/>
                <a:gd name="T15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0">
                  <a:moveTo>
                    <a:pt x="8" y="2"/>
                  </a:moveTo>
                  <a:cubicBezTo>
                    <a:pt x="9" y="0"/>
                    <a:pt x="11" y="0"/>
                    <a:pt x="13" y="1"/>
                  </a:cubicBezTo>
                  <a:cubicBezTo>
                    <a:pt x="14" y="2"/>
                    <a:pt x="14" y="5"/>
                    <a:pt x="13" y="7"/>
                  </a:cubicBezTo>
                  <a:cubicBezTo>
                    <a:pt x="10" y="13"/>
                    <a:pt x="7" y="22"/>
                    <a:pt x="7" y="26"/>
                  </a:cubicBezTo>
                  <a:cubicBezTo>
                    <a:pt x="7" y="28"/>
                    <a:pt x="5" y="29"/>
                    <a:pt x="4" y="29"/>
                  </a:cubicBezTo>
                  <a:lnTo>
                    <a:pt x="3" y="29"/>
                  </a:lnTo>
                  <a:cubicBezTo>
                    <a:pt x="2" y="29"/>
                    <a:pt x="0" y="28"/>
                    <a:pt x="0" y="26"/>
                  </a:cubicBezTo>
                  <a:cubicBezTo>
                    <a:pt x="0" y="20"/>
                    <a:pt x="4" y="8"/>
                    <a:pt x="8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8" name="ïṣḻîḓè">
              <a:extLst>
                <a:ext uri="{FF2B5EF4-FFF2-40B4-BE49-F238E27FC236}">
                  <a16:creationId xmlns="" xmlns:a16="http://schemas.microsoft.com/office/drawing/2014/main" id="{36A0BEFC-C43D-43A9-98BA-17ED361E632B}"/>
                </a:ext>
              </a:extLst>
            </p:cNvPr>
            <p:cNvSpPr/>
            <p:nvPr/>
          </p:nvSpPr>
          <p:spPr bwMode="auto">
            <a:xfrm>
              <a:off x="347663" y="4824413"/>
              <a:ext cx="82550" cy="33337"/>
            </a:xfrm>
            <a:custGeom>
              <a:avLst/>
              <a:gdLst>
                <a:gd name="T0" fmla="*/ 226 w 231"/>
                <a:gd name="T1" fmla="*/ 84 h 92"/>
                <a:gd name="T2" fmla="*/ 230 w 231"/>
                <a:gd name="T3" fmla="*/ 88 h 92"/>
                <a:gd name="T4" fmla="*/ 226 w 231"/>
                <a:gd name="T5" fmla="*/ 91 h 92"/>
                <a:gd name="T6" fmla="*/ 214 w 231"/>
                <a:gd name="T7" fmla="*/ 91 h 92"/>
                <a:gd name="T8" fmla="*/ 3 w 231"/>
                <a:gd name="T9" fmla="*/ 6 h 92"/>
                <a:gd name="T10" fmla="*/ 3 w 231"/>
                <a:gd name="T11" fmla="*/ 1 h 92"/>
                <a:gd name="T12" fmla="*/ 8 w 231"/>
                <a:gd name="T13" fmla="*/ 1 h 92"/>
                <a:gd name="T14" fmla="*/ 226 w 231"/>
                <a:gd name="T15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92">
                  <a:moveTo>
                    <a:pt x="226" y="84"/>
                  </a:moveTo>
                  <a:cubicBezTo>
                    <a:pt x="228" y="84"/>
                    <a:pt x="230" y="86"/>
                    <a:pt x="230" y="88"/>
                  </a:cubicBezTo>
                  <a:cubicBezTo>
                    <a:pt x="230" y="91"/>
                    <a:pt x="228" y="91"/>
                    <a:pt x="226" y="91"/>
                  </a:cubicBezTo>
                  <a:cubicBezTo>
                    <a:pt x="223" y="91"/>
                    <a:pt x="219" y="91"/>
                    <a:pt x="214" y="91"/>
                  </a:cubicBezTo>
                  <a:cubicBezTo>
                    <a:pt x="149" y="91"/>
                    <a:pt x="62" y="81"/>
                    <a:pt x="3" y="6"/>
                  </a:cubicBezTo>
                  <a:cubicBezTo>
                    <a:pt x="0" y="5"/>
                    <a:pt x="0" y="4"/>
                    <a:pt x="3" y="1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69" y="77"/>
                    <a:pt x="156" y="85"/>
                    <a:pt x="226" y="84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69" name="ïś1iḋè">
              <a:extLst>
                <a:ext uri="{FF2B5EF4-FFF2-40B4-BE49-F238E27FC236}">
                  <a16:creationId xmlns="" xmlns:a16="http://schemas.microsoft.com/office/drawing/2014/main" id="{3E2EFF4E-AC2C-4320-B9D4-D5F27BC3B5EF}"/>
                </a:ext>
              </a:extLst>
            </p:cNvPr>
            <p:cNvSpPr/>
            <p:nvPr/>
          </p:nvSpPr>
          <p:spPr bwMode="auto">
            <a:xfrm>
              <a:off x="371475" y="4968875"/>
              <a:ext cx="66675" cy="19050"/>
            </a:xfrm>
            <a:custGeom>
              <a:avLst/>
              <a:gdLst>
                <a:gd name="T0" fmla="*/ 181 w 184"/>
                <a:gd name="T1" fmla="*/ 19 h 51"/>
                <a:gd name="T2" fmla="*/ 182 w 184"/>
                <a:gd name="T3" fmla="*/ 24 h 51"/>
                <a:gd name="T4" fmla="*/ 177 w 184"/>
                <a:gd name="T5" fmla="*/ 27 h 51"/>
                <a:gd name="T6" fmla="*/ 6 w 184"/>
                <a:gd name="T7" fmla="*/ 48 h 51"/>
                <a:gd name="T8" fmla="*/ 5 w 184"/>
                <a:gd name="T9" fmla="*/ 50 h 51"/>
                <a:gd name="T10" fmla="*/ 1 w 184"/>
                <a:gd name="T11" fmla="*/ 47 h 51"/>
                <a:gd name="T12" fmla="*/ 2 w 184"/>
                <a:gd name="T13" fmla="*/ 41 h 51"/>
                <a:gd name="T14" fmla="*/ 181 w 184"/>
                <a:gd name="T15" fmla="*/ 1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51">
                  <a:moveTo>
                    <a:pt x="181" y="19"/>
                  </a:moveTo>
                  <a:cubicBezTo>
                    <a:pt x="182" y="20"/>
                    <a:pt x="183" y="23"/>
                    <a:pt x="182" y="24"/>
                  </a:cubicBezTo>
                  <a:cubicBezTo>
                    <a:pt x="182" y="27"/>
                    <a:pt x="180" y="28"/>
                    <a:pt x="177" y="27"/>
                  </a:cubicBezTo>
                  <a:cubicBezTo>
                    <a:pt x="141" y="8"/>
                    <a:pt x="40" y="28"/>
                    <a:pt x="6" y="48"/>
                  </a:cubicBezTo>
                  <a:lnTo>
                    <a:pt x="5" y="50"/>
                  </a:lnTo>
                  <a:cubicBezTo>
                    <a:pt x="2" y="50"/>
                    <a:pt x="1" y="48"/>
                    <a:pt x="1" y="47"/>
                  </a:cubicBezTo>
                  <a:cubicBezTo>
                    <a:pt x="0" y="45"/>
                    <a:pt x="0" y="42"/>
                    <a:pt x="2" y="41"/>
                  </a:cubicBezTo>
                  <a:cubicBezTo>
                    <a:pt x="37" y="19"/>
                    <a:pt x="142" y="0"/>
                    <a:pt x="181" y="19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0" name="îṩḷîḑè">
              <a:extLst>
                <a:ext uri="{FF2B5EF4-FFF2-40B4-BE49-F238E27FC236}">
                  <a16:creationId xmlns="" xmlns:a16="http://schemas.microsoft.com/office/drawing/2014/main" id="{EE9B9018-60E1-46E5-9B76-0300EECD2B33}"/>
                </a:ext>
              </a:extLst>
            </p:cNvPr>
            <p:cNvSpPr/>
            <p:nvPr/>
          </p:nvSpPr>
          <p:spPr bwMode="auto">
            <a:xfrm>
              <a:off x="382588" y="4919663"/>
              <a:ext cx="46037" cy="15875"/>
            </a:xfrm>
            <a:custGeom>
              <a:avLst/>
              <a:gdLst>
                <a:gd name="T0" fmla="*/ 124 w 128"/>
                <a:gd name="T1" fmla="*/ 39 h 46"/>
                <a:gd name="T2" fmla="*/ 125 w 128"/>
                <a:gd name="T3" fmla="*/ 43 h 46"/>
                <a:gd name="T4" fmla="*/ 122 w 128"/>
                <a:gd name="T5" fmla="*/ 45 h 46"/>
                <a:gd name="T6" fmla="*/ 121 w 128"/>
                <a:gd name="T7" fmla="*/ 45 h 46"/>
                <a:gd name="T8" fmla="*/ 64 w 128"/>
                <a:gd name="T9" fmla="*/ 29 h 46"/>
                <a:gd name="T10" fmla="*/ 1 w 128"/>
                <a:gd name="T11" fmla="*/ 7 h 46"/>
                <a:gd name="T12" fmla="*/ 1 w 128"/>
                <a:gd name="T13" fmla="*/ 2 h 46"/>
                <a:gd name="T14" fmla="*/ 6 w 128"/>
                <a:gd name="T15" fmla="*/ 2 h 46"/>
                <a:gd name="T16" fmla="*/ 66 w 128"/>
                <a:gd name="T17" fmla="*/ 21 h 46"/>
                <a:gd name="T18" fmla="*/ 124 w 128"/>
                <a:gd name="T19" fmla="*/ 3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46">
                  <a:moveTo>
                    <a:pt x="124" y="39"/>
                  </a:moveTo>
                  <a:cubicBezTo>
                    <a:pt x="125" y="40"/>
                    <a:pt x="127" y="42"/>
                    <a:pt x="125" y="43"/>
                  </a:cubicBezTo>
                  <a:cubicBezTo>
                    <a:pt x="125" y="44"/>
                    <a:pt x="124" y="45"/>
                    <a:pt x="122" y="45"/>
                  </a:cubicBezTo>
                  <a:lnTo>
                    <a:pt x="121" y="45"/>
                  </a:lnTo>
                  <a:cubicBezTo>
                    <a:pt x="108" y="39"/>
                    <a:pt x="85" y="34"/>
                    <a:pt x="64" y="29"/>
                  </a:cubicBezTo>
                  <a:cubicBezTo>
                    <a:pt x="36" y="22"/>
                    <a:pt x="10" y="16"/>
                    <a:pt x="1" y="7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2" y="0"/>
                    <a:pt x="4" y="0"/>
                    <a:pt x="6" y="2"/>
                  </a:cubicBezTo>
                  <a:cubicBezTo>
                    <a:pt x="13" y="8"/>
                    <a:pt x="41" y="15"/>
                    <a:pt x="66" y="21"/>
                  </a:cubicBezTo>
                  <a:cubicBezTo>
                    <a:pt x="88" y="26"/>
                    <a:pt x="111" y="32"/>
                    <a:pt x="124" y="39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1" name="îs1ïḓé">
              <a:extLst>
                <a:ext uri="{FF2B5EF4-FFF2-40B4-BE49-F238E27FC236}">
                  <a16:creationId xmlns="" xmlns:a16="http://schemas.microsoft.com/office/drawing/2014/main" id="{DC3FC8A5-5FDE-4617-8C6E-E510B39A10E3}"/>
                </a:ext>
              </a:extLst>
            </p:cNvPr>
            <p:cNvSpPr/>
            <p:nvPr/>
          </p:nvSpPr>
          <p:spPr bwMode="auto">
            <a:xfrm>
              <a:off x="360363" y="4887913"/>
              <a:ext cx="50800" cy="9525"/>
            </a:xfrm>
            <a:custGeom>
              <a:avLst/>
              <a:gdLst>
                <a:gd name="T0" fmla="*/ 138 w 143"/>
                <a:gd name="T1" fmla="*/ 1 h 26"/>
                <a:gd name="T2" fmla="*/ 142 w 143"/>
                <a:gd name="T3" fmla="*/ 4 h 26"/>
                <a:gd name="T4" fmla="*/ 140 w 143"/>
                <a:gd name="T5" fmla="*/ 8 h 26"/>
                <a:gd name="T6" fmla="*/ 6 w 143"/>
                <a:gd name="T7" fmla="*/ 25 h 26"/>
                <a:gd name="T8" fmla="*/ 4 w 143"/>
                <a:gd name="T9" fmla="*/ 25 h 26"/>
                <a:gd name="T10" fmla="*/ 0 w 143"/>
                <a:gd name="T11" fmla="*/ 20 h 26"/>
                <a:gd name="T12" fmla="*/ 4 w 143"/>
                <a:gd name="T13" fmla="*/ 17 h 26"/>
                <a:gd name="T14" fmla="*/ 138 w 143"/>
                <a:gd name="T15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26">
                  <a:moveTo>
                    <a:pt x="138" y="1"/>
                  </a:moveTo>
                  <a:cubicBezTo>
                    <a:pt x="139" y="0"/>
                    <a:pt x="141" y="1"/>
                    <a:pt x="142" y="4"/>
                  </a:cubicBezTo>
                  <a:cubicBezTo>
                    <a:pt x="142" y="5"/>
                    <a:pt x="142" y="7"/>
                    <a:pt x="140" y="8"/>
                  </a:cubicBezTo>
                  <a:cubicBezTo>
                    <a:pt x="111" y="18"/>
                    <a:pt x="37" y="25"/>
                    <a:pt x="6" y="25"/>
                  </a:cubicBezTo>
                  <a:cubicBezTo>
                    <a:pt x="5" y="25"/>
                    <a:pt x="5" y="25"/>
                    <a:pt x="4" y="25"/>
                  </a:cubicBezTo>
                  <a:cubicBezTo>
                    <a:pt x="1" y="25"/>
                    <a:pt x="0" y="23"/>
                    <a:pt x="0" y="20"/>
                  </a:cubicBezTo>
                  <a:cubicBezTo>
                    <a:pt x="0" y="18"/>
                    <a:pt x="1" y="17"/>
                    <a:pt x="4" y="17"/>
                  </a:cubicBezTo>
                  <a:cubicBezTo>
                    <a:pt x="34" y="17"/>
                    <a:pt x="109" y="10"/>
                    <a:pt x="138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2" name="ïSḻïde">
              <a:extLst>
                <a:ext uri="{FF2B5EF4-FFF2-40B4-BE49-F238E27FC236}">
                  <a16:creationId xmlns="" xmlns:a16="http://schemas.microsoft.com/office/drawing/2014/main" id="{3B187709-D1F1-49EB-9377-437BCCFA5EE8}"/>
                </a:ext>
              </a:extLst>
            </p:cNvPr>
            <p:cNvSpPr/>
            <p:nvPr/>
          </p:nvSpPr>
          <p:spPr bwMode="auto">
            <a:xfrm>
              <a:off x="676275" y="4970463"/>
              <a:ext cx="53975" cy="22225"/>
            </a:xfrm>
            <a:custGeom>
              <a:avLst/>
              <a:gdLst>
                <a:gd name="T0" fmla="*/ 3 w 148"/>
                <a:gd name="T1" fmla="*/ 0 h 61"/>
                <a:gd name="T2" fmla="*/ 145 w 148"/>
                <a:gd name="T3" fmla="*/ 53 h 61"/>
                <a:gd name="T4" fmla="*/ 145 w 148"/>
                <a:gd name="T5" fmla="*/ 59 h 61"/>
                <a:gd name="T6" fmla="*/ 143 w 148"/>
                <a:gd name="T7" fmla="*/ 60 h 61"/>
                <a:gd name="T8" fmla="*/ 140 w 148"/>
                <a:gd name="T9" fmla="*/ 59 h 61"/>
                <a:gd name="T10" fmla="*/ 3 w 148"/>
                <a:gd name="T11" fmla="*/ 8 h 61"/>
                <a:gd name="T12" fmla="*/ 0 w 148"/>
                <a:gd name="T13" fmla="*/ 5 h 61"/>
                <a:gd name="T14" fmla="*/ 3 w 148"/>
                <a:gd name="T1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61">
                  <a:moveTo>
                    <a:pt x="3" y="0"/>
                  </a:moveTo>
                  <a:cubicBezTo>
                    <a:pt x="58" y="0"/>
                    <a:pt x="102" y="17"/>
                    <a:pt x="145" y="53"/>
                  </a:cubicBezTo>
                  <a:cubicBezTo>
                    <a:pt x="146" y="54"/>
                    <a:pt x="147" y="56"/>
                    <a:pt x="145" y="59"/>
                  </a:cubicBezTo>
                  <a:cubicBezTo>
                    <a:pt x="145" y="60"/>
                    <a:pt x="144" y="60"/>
                    <a:pt x="143" y="60"/>
                  </a:cubicBezTo>
                  <a:cubicBezTo>
                    <a:pt x="141" y="60"/>
                    <a:pt x="140" y="60"/>
                    <a:pt x="140" y="59"/>
                  </a:cubicBezTo>
                  <a:cubicBezTo>
                    <a:pt x="98" y="24"/>
                    <a:pt x="56" y="8"/>
                    <a:pt x="3" y="8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2"/>
                    <a:pt x="2" y="0"/>
                    <a:pt x="3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3" name="íṥḷiḋê">
              <a:extLst>
                <a:ext uri="{FF2B5EF4-FFF2-40B4-BE49-F238E27FC236}">
                  <a16:creationId xmlns="" xmlns:a16="http://schemas.microsoft.com/office/drawing/2014/main" id="{954AC9E0-C08D-4938-A2F8-F038B5B987C6}"/>
                </a:ext>
              </a:extLst>
            </p:cNvPr>
            <p:cNvSpPr/>
            <p:nvPr/>
          </p:nvSpPr>
          <p:spPr bwMode="auto">
            <a:xfrm>
              <a:off x="709613" y="4927600"/>
              <a:ext cx="49212" cy="9525"/>
            </a:xfrm>
            <a:custGeom>
              <a:avLst/>
              <a:gdLst>
                <a:gd name="T0" fmla="*/ 130 w 138"/>
                <a:gd name="T1" fmla="*/ 1 h 25"/>
                <a:gd name="T2" fmla="*/ 136 w 138"/>
                <a:gd name="T3" fmla="*/ 2 h 25"/>
                <a:gd name="T4" fmla="*/ 135 w 138"/>
                <a:gd name="T5" fmla="*/ 8 h 25"/>
                <a:gd name="T6" fmla="*/ 77 w 138"/>
                <a:gd name="T7" fmla="*/ 24 h 25"/>
                <a:gd name="T8" fmla="*/ 37 w 138"/>
                <a:gd name="T9" fmla="*/ 21 h 25"/>
                <a:gd name="T10" fmla="*/ 4 w 138"/>
                <a:gd name="T11" fmla="*/ 17 h 25"/>
                <a:gd name="T12" fmla="*/ 0 w 138"/>
                <a:gd name="T13" fmla="*/ 13 h 25"/>
                <a:gd name="T14" fmla="*/ 4 w 138"/>
                <a:gd name="T15" fmla="*/ 10 h 25"/>
                <a:gd name="T16" fmla="*/ 37 w 138"/>
                <a:gd name="T17" fmla="*/ 13 h 25"/>
                <a:gd name="T18" fmla="*/ 130 w 138"/>
                <a:gd name="T19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25">
                  <a:moveTo>
                    <a:pt x="130" y="1"/>
                  </a:moveTo>
                  <a:cubicBezTo>
                    <a:pt x="133" y="0"/>
                    <a:pt x="135" y="1"/>
                    <a:pt x="136" y="2"/>
                  </a:cubicBezTo>
                  <a:cubicBezTo>
                    <a:pt x="137" y="5"/>
                    <a:pt x="136" y="7"/>
                    <a:pt x="135" y="8"/>
                  </a:cubicBezTo>
                  <a:cubicBezTo>
                    <a:pt x="115" y="21"/>
                    <a:pt x="96" y="24"/>
                    <a:pt x="77" y="24"/>
                  </a:cubicBezTo>
                  <a:cubicBezTo>
                    <a:pt x="64" y="24"/>
                    <a:pt x="50" y="23"/>
                    <a:pt x="37" y="21"/>
                  </a:cubicBezTo>
                  <a:cubicBezTo>
                    <a:pt x="26" y="19"/>
                    <a:pt x="15" y="18"/>
                    <a:pt x="4" y="17"/>
                  </a:cubicBezTo>
                  <a:cubicBezTo>
                    <a:pt x="1" y="17"/>
                    <a:pt x="0" y="16"/>
                    <a:pt x="0" y="13"/>
                  </a:cubicBezTo>
                  <a:cubicBezTo>
                    <a:pt x="0" y="11"/>
                    <a:pt x="1" y="10"/>
                    <a:pt x="4" y="10"/>
                  </a:cubicBezTo>
                  <a:cubicBezTo>
                    <a:pt x="15" y="10"/>
                    <a:pt x="27" y="11"/>
                    <a:pt x="37" y="13"/>
                  </a:cubicBezTo>
                  <a:cubicBezTo>
                    <a:pt x="70" y="17"/>
                    <a:pt x="100" y="21"/>
                    <a:pt x="130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4" name="îṩlíḑé">
              <a:extLst>
                <a:ext uri="{FF2B5EF4-FFF2-40B4-BE49-F238E27FC236}">
                  <a16:creationId xmlns="" xmlns:a16="http://schemas.microsoft.com/office/drawing/2014/main" id="{90559D78-8C43-4FE4-A359-2614B574F113}"/>
                </a:ext>
              </a:extLst>
            </p:cNvPr>
            <p:cNvSpPr/>
            <p:nvPr/>
          </p:nvSpPr>
          <p:spPr bwMode="auto">
            <a:xfrm>
              <a:off x="777875" y="4824413"/>
              <a:ext cx="34925" cy="26987"/>
            </a:xfrm>
            <a:custGeom>
              <a:avLst/>
              <a:gdLst>
                <a:gd name="T0" fmla="*/ 89 w 97"/>
                <a:gd name="T1" fmla="*/ 2 h 77"/>
                <a:gd name="T2" fmla="*/ 94 w 97"/>
                <a:gd name="T3" fmla="*/ 1 h 77"/>
                <a:gd name="T4" fmla="*/ 95 w 97"/>
                <a:gd name="T5" fmla="*/ 7 h 77"/>
                <a:gd name="T6" fmla="*/ 41 w 97"/>
                <a:gd name="T7" fmla="*/ 51 h 77"/>
                <a:gd name="T8" fmla="*/ 7 w 97"/>
                <a:gd name="T9" fmla="*/ 76 h 77"/>
                <a:gd name="T10" fmla="*/ 3 w 97"/>
                <a:gd name="T11" fmla="*/ 76 h 77"/>
                <a:gd name="T12" fmla="*/ 1 w 97"/>
                <a:gd name="T13" fmla="*/ 75 h 77"/>
                <a:gd name="T14" fmla="*/ 1 w 97"/>
                <a:gd name="T15" fmla="*/ 69 h 77"/>
                <a:gd name="T16" fmla="*/ 37 w 97"/>
                <a:gd name="T17" fmla="*/ 44 h 77"/>
                <a:gd name="T18" fmla="*/ 89 w 97"/>
                <a:gd name="T19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77">
                  <a:moveTo>
                    <a:pt x="89" y="2"/>
                  </a:moveTo>
                  <a:cubicBezTo>
                    <a:pt x="90" y="1"/>
                    <a:pt x="92" y="0"/>
                    <a:pt x="94" y="1"/>
                  </a:cubicBezTo>
                  <a:cubicBezTo>
                    <a:pt x="96" y="4"/>
                    <a:pt x="96" y="6"/>
                    <a:pt x="95" y="7"/>
                  </a:cubicBezTo>
                  <a:cubicBezTo>
                    <a:pt x="81" y="28"/>
                    <a:pt x="60" y="40"/>
                    <a:pt x="41" y="51"/>
                  </a:cubicBezTo>
                  <a:cubicBezTo>
                    <a:pt x="30" y="58"/>
                    <a:pt x="17" y="65"/>
                    <a:pt x="7" y="76"/>
                  </a:cubicBezTo>
                  <a:cubicBezTo>
                    <a:pt x="5" y="76"/>
                    <a:pt x="4" y="76"/>
                    <a:pt x="3" y="76"/>
                  </a:cubicBezTo>
                  <a:cubicBezTo>
                    <a:pt x="3" y="76"/>
                    <a:pt x="2" y="76"/>
                    <a:pt x="1" y="75"/>
                  </a:cubicBezTo>
                  <a:cubicBezTo>
                    <a:pt x="0" y="73"/>
                    <a:pt x="0" y="71"/>
                    <a:pt x="1" y="69"/>
                  </a:cubicBezTo>
                  <a:cubicBezTo>
                    <a:pt x="12" y="59"/>
                    <a:pt x="25" y="51"/>
                    <a:pt x="37" y="44"/>
                  </a:cubicBezTo>
                  <a:cubicBezTo>
                    <a:pt x="56" y="33"/>
                    <a:pt x="75" y="22"/>
                    <a:pt x="89" y="2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5" name="íṧḻîḍe">
              <a:extLst>
                <a:ext uri="{FF2B5EF4-FFF2-40B4-BE49-F238E27FC236}">
                  <a16:creationId xmlns="" xmlns:a16="http://schemas.microsoft.com/office/drawing/2014/main" id="{561748E3-9C06-43F4-9D8A-DC0E58EFDDE0}"/>
                </a:ext>
              </a:extLst>
            </p:cNvPr>
            <p:cNvSpPr/>
            <p:nvPr/>
          </p:nvSpPr>
          <p:spPr bwMode="auto">
            <a:xfrm>
              <a:off x="406400" y="4740275"/>
              <a:ext cx="33338" cy="115888"/>
            </a:xfrm>
            <a:custGeom>
              <a:avLst/>
              <a:gdLst>
                <a:gd name="T0" fmla="*/ 89 w 92"/>
                <a:gd name="T1" fmla="*/ 1 h 322"/>
                <a:gd name="T2" fmla="*/ 90 w 92"/>
                <a:gd name="T3" fmla="*/ 5 h 322"/>
                <a:gd name="T4" fmla="*/ 64 w 92"/>
                <a:gd name="T5" fmla="*/ 315 h 322"/>
                <a:gd name="T6" fmla="*/ 62 w 92"/>
                <a:gd name="T7" fmla="*/ 321 h 322"/>
                <a:gd name="T8" fmla="*/ 61 w 92"/>
                <a:gd name="T9" fmla="*/ 321 h 322"/>
                <a:gd name="T10" fmla="*/ 57 w 92"/>
                <a:gd name="T11" fmla="*/ 319 h 322"/>
                <a:gd name="T12" fmla="*/ 83 w 92"/>
                <a:gd name="T13" fmla="*/ 2 h 322"/>
                <a:gd name="T14" fmla="*/ 89 w 92"/>
                <a:gd name="T15" fmla="*/ 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322">
                  <a:moveTo>
                    <a:pt x="89" y="1"/>
                  </a:moveTo>
                  <a:cubicBezTo>
                    <a:pt x="91" y="2"/>
                    <a:pt x="91" y="4"/>
                    <a:pt x="90" y="5"/>
                  </a:cubicBezTo>
                  <a:cubicBezTo>
                    <a:pt x="9" y="141"/>
                    <a:pt x="31" y="249"/>
                    <a:pt x="64" y="315"/>
                  </a:cubicBezTo>
                  <a:cubicBezTo>
                    <a:pt x="65" y="318"/>
                    <a:pt x="64" y="320"/>
                    <a:pt x="62" y="321"/>
                  </a:cubicBezTo>
                  <a:lnTo>
                    <a:pt x="61" y="321"/>
                  </a:lnTo>
                  <a:cubicBezTo>
                    <a:pt x="59" y="321"/>
                    <a:pt x="57" y="321"/>
                    <a:pt x="57" y="319"/>
                  </a:cubicBezTo>
                  <a:cubicBezTo>
                    <a:pt x="23" y="250"/>
                    <a:pt x="0" y="140"/>
                    <a:pt x="83" y="2"/>
                  </a:cubicBezTo>
                  <a:cubicBezTo>
                    <a:pt x="84" y="0"/>
                    <a:pt x="87" y="0"/>
                    <a:pt x="89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6" name="iṧlídè">
              <a:extLst>
                <a:ext uri="{FF2B5EF4-FFF2-40B4-BE49-F238E27FC236}">
                  <a16:creationId xmlns="" xmlns:a16="http://schemas.microsoft.com/office/drawing/2014/main" id="{354BE74D-03FC-4731-AA07-F1D7949724C4}"/>
                </a:ext>
              </a:extLst>
            </p:cNvPr>
            <p:cNvSpPr/>
            <p:nvPr/>
          </p:nvSpPr>
          <p:spPr bwMode="auto">
            <a:xfrm>
              <a:off x="357188" y="4784725"/>
              <a:ext cx="71437" cy="69850"/>
            </a:xfrm>
            <a:custGeom>
              <a:avLst/>
              <a:gdLst>
                <a:gd name="T0" fmla="*/ 195 w 200"/>
                <a:gd name="T1" fmla="*/ 186 h 194"/>
                <a:gd name="T2" fmla="*/ 197 w 200"/>
                <a:gd name="T3" fmla="*/ 192 h 194"/>
                <a:gd name="T4" fmla="*/ 194 w 200"/>
                <a:gd name="T5" fmla="*/ 193 h 194"/>
                <a:gd name="T6" fmla="*/ 192 w 200"/>
                <a:gd name="T7" fmla="*/ 193 h 194"/>
                <a:gd name="T8" fmla="*/ 1 w 200"/>
                <a:gd name="T9" fmla="*/ 5 h 194"/>
                <a:gd name="T10" fmla="*/ 2 w 200"/>
                <a:gd name="T11" fmla="*/ 1 h 194"/>
                <a:gd name="T12" fmla="*/ 7 w 200"/>
                <a:gd name="T13" fmla="*/ 1 h 194"/>
                <a:gd name="T14" fmla="*/ 195 w 200"/>
                <a:gd name="T15" fmla="*/ 18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0" h="194">
                  <a:moveTo>
                    <a:pt x="195" y="186"/>
                  </a:moveTo>
                  <a:cubicBezTo>
                    <a:pt x="197" y="187"/>
                    <a:pt x="199" y="190"/>
                    <a:pt x="197" y="192"/>
                  </a:cubicBezTo>
                  <a:cubicBezTo>
                    <a:pt x="196" y="193"/>
                    <a:pt x="195" y="193"/>
                    <a:pt x="194" y="193"/>
                  </a:cubicBezTo>
                  <a:cubicBezTo>
                    <a:pt x="193" y="193"/>
                    <a:pt x="193" y="193"/>
                    <a:pt x="192" y="193"/>
                  </a:cubicBezTo>
                  <a:cubicBezTo>
                    <a:pt x="138" y="164"/>
                    <a:pt x="50" y="63"/>
                    <a:pt x="1" y="5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55" y="58"/>
                    <a:pt x="143" y="158"/>
                    <a:pt x="195" y="186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7" name="isḻiḓê">
              <a:extLst>
                <a:ext uri="{FF2B5EF4-FFF2-40B4-BE49-F238E27FC236}">
                  <a16:creationId xmlns="" xmlns:a16="http://schemas.microsoft.com/office/drawing/2014/main" id="{3C57A8DC-210E-49D0-B28F-E53DEC298BBD}"/>
                </a:ext>
              </a:extLst>
            </p:cNvPr>
            <p:cNvSpPr/>
            <p:nvPr/>
          </p:nvSpPr>
          <p:spPr bwMode="auto">
            <a:xfrm>
              <a:off x="701675" y="4951413"/>
              <a:ext cx="53975" cy="12700"/>
            </a:xfrm>
            <a:custGeom>
              <a:avLst/>
              <a:gdLst>
                <a:gd name="T0" fmla="*/ 140 w 148"/>
                <a:gd name="T1" fmla="*/ 0 h 36"/>
                <a:gd name="T2" fmla="*/ 146 w 148"/>
                <a:gd name="T3" fmla="*/ 3 h 36"/>
                <a:gd name="T4" fmla="*/ 145 w 148"/>
                <a:gd name="T5" fmla="*/ 7 h 36"/>
                <a:gd name="T6" fmla="*/ 46 w 148"/>
                <a:gd name="T7" fmla="*/ 31 h 36"/>
                <a:gd name="T8" fmla="*/ 5 w 148"/>
                <a:gd name="T9" fmla="*/ 35 h 36"/>
                <a:gd name="T10" fmla="*/ 4 w 148"/>
                <a:gd name="T11" fmla="*/ 35 h 36"/>
                <a:gd name="T12" fmla="*/ 1 w 148"/>
                <a:gd name="T13" fmla="*/ 32 h 36"/>
                <a:gd name="T14" fmla="*/ 3 w 148"/>
                <a:gd name="T15" fmla="*/ 28 h 36"/>
                <a:gd name="T16" fmla="*/ 45 w 148"/>
                <a:gd name="T17" fmla="*/ 23 h 36"/>
                <a:gd name="T18" fmla="*/ 140 w 148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36">
                  <a:moveTo>
                    <a:pt x="140" y="0"/>
                  </a:moveTo>
                  <a:cubicBezTo>
                    <a:pt x="142" y="0"/>
                    <a:pt x="145" y="0"/>
                    <a:pt x="146" y="3"/>
                  </a:cubicBezTo>
                  <a:cubicBezTo>
                    <a:pt x="147" y="4"/>
                    <a:pt x="146" y="6"/>
                    <a:pt x="145" y="7"/>
                  </a:cubicBezTo>
                  <a:cubicBezTo>
                    <a:pt x="113" y="23"/>
                    <a:pt x="79" y="28"/>
                    <a:pt x="46" y="31"/>
                  </a:cubicBezTo>
                  <a:cubicBezTo>
                    <a:pt x="32" y="32"/>
                    <a:pt x="18" y="33"/>
                    <a:pt x="5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2" y="35"/>
                    <a:pt x="1" y="34"/>
                    <a:pt x="1" y="32"/>
                  </a:cubicBezTo>
                  <a:cubicBezTo>
                    <a:pt x="0" y="30"/>
                    <a:pt x="2" y="29"/>
                    <a:pt x="3" y="28"/>
                  </a:cubicBezTo>
                  <a:cubicBezTo>
                    <a:pt x="17" y="25"/>
                    <a:pt x="31" y="24"/>
                    <a:pt x="45" y="23"/>
                  </a:cubicBezTo>
                  <a:cubicBezTo>
                    <a:pt x="77" y="20"/>
                    <a:pt x="111" y="17"/>
                    <a:pt x="140" y="0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8" name="îSliďé">
              <a:extLst>
                <a:ext uri="{FF2B5EF4-FFF2-40B4-BE49-F238E27FC236}">
                  <a16:creationId xmlns="" xmlns:a16="http://schemas.microsoft.com/office/drawing/2014/main" id="{C56A8BF2-133E-4EE4-82AA-2D383E7DE0DE}"/>
                </a:ext>
              </a:extLst>
            </p:cNvPr>
            <p:cNvSpPr/>
            <p:nvPr/>
          </p:nvSpPr>
          <p:spPr bwMode="auto">
            <a:xfrm>
              <a:off x="358775" y="4954588"/>
              <a:ext cx="58738" cy="12700"/>
            </a:xfrm>
            <a:custGeom>
              <a:avLst/>
              <a:gdLst>
                <a:gd name="T0" fmla="*/ 156 w 164"/>
                <a:gd name="T1" fmla="*/ 1 h 35"/>
                <a:gd name="T2" fmla="*/ 162 w 164"/>
                <a:gd name="T3" fmla="*/ 2 h 35"/>
                <a:gd name="T4" fmla="*/ 160 w 164"/>
                <a:gd name="T5" fmla="*/ 7 h 35"/>
                <a:gd name="T6" fmla="*/ 4 w 164"/>
                <a:gd name="T7" fmla="*/ 34 h 35"/>
                <a:gd name="T8" fmla="*/ 0 w 164"/>
                <a:gd name="T9" fmla="*/ 31 h 35"/>
                <a:gd name="T10" fmla="*/ 4 w 164"/>
                <a:gd name="T11" fmla="*/ 26 h 35"/>
                <a:gd name="T12" fmla="*/ 156 w 164"/>
                <a:gd name="T13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35">
                  <a:moveTo>
                    <a:pt x="156" y="1"/>
                  </a:moveTo>
                  <a:cubicBezTo>
                    <a:pt x="158" y="0"/>
                    <a:pt x="160" y="0"/>
                    <a:pt x="162" y="2"/>
                  </a:cubicBezTo>
                  <a:cubicBezTo>
                    <a:pt x="163" y="3"/>
                    <a:pt x="163" y="6"/>
                    <a:pt x="160" y="7"/>
                  </a:cubicBezTo>
                  <a:cubicBezTo>
                    <a:pt x="130" y="27"/>
                    <a:pt x="9" y="34"/>
                    <a:pt x="4" y="34"/>
                  </a:cubicBezTo>
                  <a:cubicBezTo>
                    <a:pt x="1" y="34"/>
                    <a:pt x="0" y="34"/>
                    <a:pt x="0" y="31"/>
                  </a:cubicBezTo>
                  <a:cubicBezTo>
                    <a:pt x="0" y="29"/>
                    <a:pt x="1" y="27"/>
                    <a:pt x="4" y="26"/>
                  </a:cubicBezTo>
                  <a:cubicBezTo>
                    <a:pt x="5" y="26"/>
                    <a:pt x="127" y="19"/>
                    <a:pt x="156" y="1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79" name="îślïde">
              <a:extLst>
                <a:ext uri="{FF2B5EF4-FFF2-40B4-BE49-F238E27FC236}">
                  <a16:creationId xmlns="" xmlns:a16="http://schemas.microsoft.com/office/drawing/2014/main" id="{B2F41057-240F-4F11-8390-B2D1187813E7}"/>
                </a:ext>
              </a:extLst>
            </p:cNvPr>
            <p:cNvSpPr/>
            <p:nvPr/>
          </p:nvSpPr>
          <p:spPr bwMode="auto">
            <a:xfrm>
              <a:off x="358775" y="4933950"/>
              <a:ext cx="38100" cy="11113"/>
            </a:xfrm>
            <a:custGeom>
              <a:avLst/>
              <a:gdLst>
                <a:gd name="T0" fmla="*/ 103 w 107"/>
                <a:gd name="T1" fmla="*/ 23 h 31"/>
                <a:gd name="T2" fmla="*/ 105 w 107"/>
                <a:gd name="T3" fmla="*/ 28 h 31"/>
                <a:gd name="T4" fmla="*/ 102 w 107"/>
                <a:gd name="T5" fmla="*/ 30 h 31"/>
                <a:gd name="T6" fmla="*/ 100 w 107"/>
                <a:gd name="T7" fmla="*/ 30 h 31"/>
                <a:gd name="T8" fmla="*/ 4 w 107"/>
                <a:gd name="T9" fmla="*/ 9 h 31"/>
                <a:gd name="T10" fmla="*/ 0 w 107"/>
                <a:gd name="T11" fmla="*/ 4 h 31"/>
                <a:gd name="T12" fmla="*/ 5 w 107"/>
                <a:gd name="T13" fmla="*/ 0 h 31"/>
                <a:gd name="T14" fmla="*/ 103 w 107"/>
                <a:gd name="T15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31">
                  <a:moveTo>
                    <a:pt x="103" y="23"/>
                  </a:moveTo>
                  <a:cubicBezTo>
                    <a:pt x="105" y="24"/>
                    <a:pt x="106" y="26"/>
                    <a:pt x="105" y="28"/>
                  </a:cubicBezTo>
                  <a:cubicBezTo>
                    <a:pt x="104" y="30"/>
                    <a:pt x="103" y="30"/>
                    <a:pt x="102" y="30"/>
                  </a:cubicBezTo>
                  <a:cubicBezTo>
                    <a:pt x="101" y="30"/>
                    <a:pt x="101" y="30"/>
                    <a:pt x="100" y="30"/>
                  </a:cubicBezTo>
                  <a:cubicBezTo>
                    <a:pt x="76" y="19"/>
                    <a:pt x="4" y="9"/>
                    <a:pt x="4" y="9"/>
                  </a:cubicBezTo>
                  <a:cubicBezTo>
                    <a:pt x="1" y="9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79" y="11"/>
                    <a:pt x="103" y="23"/>
                  </a:cubicBezTo>
                </a:path>
              </a:pathLst>
            </a:custGeom>
            <a:solidFill>
              <a:srgbClr val="113856"/>
            </a:solidFill>
            <a:ln>
              <a:noFill/>
            </a:ln>
            <a:effectLst/>
            <a:extLst>
              <a:ext uri="{91240B29-F687-4f45-9708-019B960494DF}">
  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>
                <a:defRPr/>
              </a:pPr>
              <a:endParaRPr lang="en-US">
                <a:latin typeface="Arial" panose="020B0604020202020204" pitchFamily="34" charset="0"/>
                <a:ea typeface="Microsoft YaHei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131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/>
          <a:lstStyle/>
          <a:p>
            <a:r>
              <a:rPr lang="zh-CN" altLang="en-US" b="0" dirty="0">
                <a:sym typeface="+mn-lt"/>
              </a:rPr>
              <a:t>为什么要使用</a:t>
            </a:r>
            <a:r>
              <a:rPr lang="en-US" altLang="zh-CN" b="0" dirty="0">
                <a:sym typeface="+mn-lt"/>
              </a:rPr>
              <a:t>redux</a:t>
            </a:r>
            <a:br>
              <a:rPr lang="en-US" altLang="zh-CN" b="0" dirty="0">
                <a:sym typeface="+mn-lt"/>
              </a:rPr>
            </a:b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74482" y="3366142"/>
            <a:ext cx="54191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 smtClean="0"/>
              <a:t>1.</a:t>
            </a:r>
            <a:r>
              <a:rPr lang="zh-CN" altLang="en-US" dirty="0" smtClean="0"/>
              <a:t>业务角度</a:t>
            </a:r>
            <a:endParaRPr lang="en-US" altLang="zh-CN" dirty="0" smtClean="0"/>
          </a:p>
          <a:p>
            <a:pPr lvl="0">
              <a:lnSpc>
                <a:spcPct val="100000"/>
              </a:lnSpc>
            </a:pPr>
            <a:r>
              <a:rPr lang="en-US" altLang="zh-CN" dirty="0" smtClean="0"/>
              <a:t>2.</a:t>
            </a:r>
            <a:r>
              <a:rPr lang="zh-CN" altLang="en-US" dirty="0" smtClean="0"/>
              <a:t>框架角度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en-US" dirty="0" smtClean="0"/>
              <a:t>业务角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4" y="1228725"/>
            <a:ext cx="1071245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 </a:t>
            </a:r>
            <a:r>
              <a:rPr lang="en-US" altLang="zh-CN" dirty="0" smtClean="0"/>
              <a:t>   </a:t>
            </a:r>
            <a:r>
              <a:rPr lang="zh-CN" altLang="en-US" dirty="0" smtClean="0"/>
              <a:t>在小型项目中使用</a:t>
            </a:r>
            <a:r>
              <a:rPr lang="en-US" altLang="zh-CN" dirty="0" smtClean="0"/>
              <a:t>react</a:t>
            </a:r>
            <a:r>
              <a:rPr lang="zh-CN" altLang="en-US" dirty="0" smtClean="0"/>
              <a:t>完全够用。数据管理使用</a:t>
            </a:r>
            <a:r>
              <a:rPr lang="en-US" altLang="zh-CN" dirty="0" smtClean="0"/>
              <a:t>props</a:t>
            </a:r>
            <a:r>
              <a:rPr lang="zh-CN" altLang="en-US" dirty="0" smtClean="0"/>
              <a:t>和</a:t>
            </a:r>
            <a:r>
              <a:rPr lang="en-US" altLang="zh-CN" dirty="0" smtClean="0"/>
              <a:t>state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r>
              <a:rPr lang="en-US" altLang="zh-CN" dirty="0"/>
              <a:t> </a:t>
            </a:r>
            <a:r>
              <a:rPr lang="en-US" altLang="zh-CN" dirty="0" smtClean="0"/>
              <a:t>   </a:t>
            </a:r>
            <a:r>
              <a:rPr lang="zh-CN" altLang="en-US" dirty="0" smtClean="0"/>
              <a:t>但是，什么时候引入</a:t>
            </a:r>
            <a:r>
              <a:rPr lang="en-US" altLang="zh-CN" dirty="0" smtClean="0"/>
              <a:t>redux</a:t>
            </a:r>
            <a:r>
              <a:rPr lang="zh-CN" altLang="en-US" dirty="0" smtClean="0"/>
              <a:t>这个</a:t>
            </a:r>
            <a:r>
              <a:rPr lang="zh-CN" altLang="en-US" dirty="0"/>
              <a:t>应用数据流</a:t>
            </a:r>
            <a:r>
              <a:rPr lang="zh-CN" altLang="en-US" dirty="0" smtClean="0"/>
              <a:t>框架呢？我们在开发中会会遇到下面的情况。</a:t>
            </a:r>
            <a:endParaRPr lang="en-US" altLang="zh-CN" dirty="0"/>
          </a:p>
          <a:p>
            <a:r>
              <a:rPr lang="en-US" altLang="zh-CN" dirty="0" smtClean="0"/>
              <a:t>    1.</a:t>
            </a:r>
            <a:r>
              <a:rPr lang="zh-CN" altLang="en-US" dirty="0" smtClean="0"/>
              <a:t>当渲染一个组件的时候，它的数据是来源于父组件的</a:t>
            </a:r>
            <a:r>
              <a:rPr lang="en-US" altLang="zh-CN" dirty="0" smtClean="0"/>
              <a:t>props,</a:t>
            </a:r>
            <a:r>
              <a:rPr lang="zh-CN" altLang="en-US" dirty="0" smtClean="0"/>
              <a:t>可以表示为</a:t>
            </a:r>
            <a:r>
              <a:rPr lang="en-US" altLang="zh-CN" dirty="0" smtClean="0"/>
              <a:t>A</a:t>
            </a:r>
            <a:r>
              <a:rPr lang="en-US" altLang="zh-CN" dirty="0" smtClean="0">
                <a:sym typeface="Wingdings" panose="05000000000000000000" pitchFamily="2" charset="2"/>
              </a:rPr>
              <a:t>B</a:t>
            </a:r>
            <a:r>
              <a:rPr lang="zh-CN" altLang="en-US" dirty="0" smtClean="0">
                <a:sym typeface="Wingdings" panose="05000000000000000000" pitchFamily="2" charset="2"/>
              </a:rPr>
              <a:t>。随着业务的增加可能是会变成下面这种情况：</a:t>
            </a:r>
            <a:r>
              <a:rPr lang="en-US" altLang="zh-CN" dirty="0" smtClean="0">
                <a:sym typeface="Wingdings" panose="05000000000000000000" pitchFamily="2" charset="2"/>
              </a:rPr>
              <a:t>A</a:t>
            </a:r>
            <a:r>
              <a:rPr lang="en-US" altLang="zh-CN" dirty="0">
                <a:sym typeface="Wingdings" panose="05000000000000000000" pitchFamily="2" charset="2"/>
              </a:rPr>
              <a:t> </a:t>
            </a:r>
            <a:r>
              <a:rPr lang="en-US" altLang="zh-CN" dirty="0" smtClean="0">
                <a:sym typeface="Wingdings" panose="05000000000000000000" pitchFamily="2" charset="2"/>
              </a:rPr>
              <a:t> B  C  D  E</a:t>
            </a:r>
            <a:r>
              <a:rPr lang="zh-CN" altLang="en-US" dirty="0" smtClean="0">
                <a:sym typeface="Wingdings" panose="05000000000000000000" pitchFamily="2" charset="2"/>
              </a:rPr>
              <a:t>。</a:t>
            </a:r>
            <a:r>
              <a:rPr lang="en-US" altLang="zh-CN" dirty="0" smtClean="0">
                <a:sym typeface="Wingdings" panose="05000000000000000000" pitchFamily="2" charset="2"/>
              </a:rPr>
              <a:t>E</a:t>
            </a:r>
            <a:r>
              <a:rPr lang="zh-CN" altLang="en-US" dirty="0" smtClean="0">
                <a:sym typeface="Wingdings" panose="05000000000000000000" pitchFamily="2" charset="2"/>
              </a:rPr>
              <a:t>中需要的数据需要层层传递，</a:t>
            </a:r>
            <a:r>
              <a:rPr lang="en-US" altLang="zh-CN" dirty="0" smtClean="0">
                <a:sym typeface="Wingdings" panose="05000000000000000000" pitchFamily="2" charset="2"/>
              </a:rPr>
              <a:t>E</a:t>
            </a:r>
            <a:r>
              <a:rPr lang="zh-CN" altLang="en-US" dirty="0" smtClean="0">
                <a:sym typeface="Wingdings" panose="05000000000000000000" pitchFamily="2" charset="2"/>
              </a:rPr>
              <a:t>可能要向</a:t>
            </a:r>
            <a:r>
              <a:rPr lang="en-US" altLang="zh-CN" dirty="0" smtClean="0">
                <a:sym typeface="Wingdings" panose="05000000000000000000" pitchFamily="2" charset="2"/>
              </a:rPr>
              <a:t>A</a:t>
            </a:r>
            <a:r>
              <a:rPr lang="zh-CN" altLang="en-US" dirty="0" smtClean="0">
                <a:sym typeface="Wingdings" panose="05000000000000000000" pitchFamily="2" charset="2"/>
              </a:rPr>
              <a:t>逆向传递回调。这个时候</a:t>
            </a:r>
            <a:r>
              <a:rPr lang="en-US" altLang="zh-CN" dirty="0" smtClean="0">
                <a:sym typeface="Wingdings" panose="05000000000000000000" pitchFamily="2" charset="2"/>
              </a:rPr>
              <a:t>BCD</a:t>
            </a:r>
            <a:r>
              <a:rPr lang="zh-CN" altLang="en-US" dirty="0" smtClean="0">
                <a:sym typeface="Wingdings" panose="05000000000000000000" pitchFamily="2" charset="2"/>
              </a:rPr>
              <a:t>不需要这些数据，但是又需要经过他们来传递，这个会让我们开发起来很难受，同时也降低了</a:t>
            </a:r>
            <a:r>
              <a:rPr lang="en-US" altLang="zh-CN" dirty="0" smtClean="0">
                <a:sym typeface="Wingdings" panose="05000000000000000000" pitchFamily="2" charset="2"/>
              </a:rPr>
              <a:t>BCD</a:t>
            </a:r>
            <a:r>
              <a:rPr lang="zh-CN" altLang="en-US" dirty="0" smtClean="0">
                <a:sym typeface="Wingdings" panose="05000000000000000000" pitchFamily="2" charset="2"/>
              </a:rPr>
              <a:t>的复用性。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r>
              <a:rPr lang="en-US" altLang="zh-CN" dirty="0">
                <a:sym typeface="Wingdings" panose="05000000000000000000" pitchFamily="2" charset="2"/>
              </a:rPr>
              <a:t> </a:t>
            </a:r>
            <a:r>
              <a:rPr lang="en-US" altLang="zh-CN" dirty="0" smtClean="0">
                <a:sym typeface="Wingdings" panose="05000000000000000000" pitchFamily="2" charset="2"/>
              </a:rPr>
              <a:t>   2.</a:t>
            </a:r>
            <a:r>
              <a:rPr lang="zh-CN" altLang="en-US" dirty="0" smtClean="0">
                <a:sym typeface="Wingdings" panose="05000000000000000000" pitchFamily="2" charset="2"/>
              </a:rPr>
              <a:t>兄</a:t>
            </a:r>
            <a:r>
              <a:rPr lang="zh-CN" altLang="en-US" dirty="0">
                <a:sym typeface="Wingdings" panose="05000000000000000000" pitchFamily="2" charset="2"/>
              </a:rPr>
              <a:t>弟</a:t>
            </a:r>
            <a:r>
              <a:rPr lang="zh-CN" altLang="en-US" dirty="0" smtClean="0">
                <a:sym typeface="Wingdings" panose="05000000000000000000" pitchFamily="2" charset="2"/>
              </a:rPr>
              <a:t>组件想要共享数据的时候，也不方便。</a:t>
            </a:r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28606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</a:t>
            </a:r>
            <a:r>
              <a:rPr lang="zh-CN" altLang="en-US" dirty="0" smtClean="0"/>
              <a:t>框架角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4" y="1228725"/>
            <a:ext cx="107124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来</a:t>
            </a:r>
            <a:r>
              <a:rPr lang="zh-CN" altLang="en-US" dirty="0"/>
              <a:t>自</a:t>
            </a:r>
            <a:r>
              <a:rPr lang="zh-CN" altLang="en-US" dirty="0" smtClean="0"/>
              <a:t>后端的中间件机制</a:t>
            </a:r>
            <a:r>
              <a:rPr lang="en-US" altLang="zh-CN" dirty="0" smtClean="0"/>
              <a:t>=》</a:t>
            </a:r>
            <a:r>
              <a:rPr lang="zh-CN" altLang="en-US" b="1" dirty="0" smtClean="0"/>
              <a:t>统一</a:t>
            </a:r>
            <a:r>
              <a:rPr lang="zh-CN" altLang="en-US" b="1" dirty="0"/>
              <a:t>的入口</a:t>
            </a:r>
            <a:r>
              <a:rPr lang="zh-CN" altLang="en-US" dirty="0"/>
              <a:t>与</a:t>
            </a:r>
            <a:r>
              <a:rPr lang="zh-CN" altLang="en-US" b="1" dirty="0"/>
              <a:t>统一的状态</a:t>
            </a:r>
            <a:r>
              <a:rPr lang="zh-CN" altLang="en-US" b="1" dirty="0" smtClean="0"/>
              <a:t>管理</a:t>
            </a:r>
            <a:r>
              <a:rPr lang="en-US" altLang="zh-CN" b="1" dirty="0" smtClean="0"/>
              <a:t>=》</a:t>
            </a:r>
            <a:r>
              <a:rPr lang="zh-CN" altLang="en-US" dirty="0"/>
              <a:t>后端 </a:t>
            </a:r>
            <a:r>
              <a:rPr lang="en-US" altLang="zh-CN" dirty="0"/>
              <a:t>MVC </a:t>
            </a:r>
            <a:r>
              <a:rPr lang="zh-CN" altLang="en-US" dirty="0"/>
              <a:t>的开发思维搬到前端，</a:t>
            </a:r>
            <a:r>
              <a:rPr lang="zh-CN" altLang="en-US" b="1" dirty="0"/>
              <a:t>将应用中所有的动作与状态都统一管理</a:t>
            </a:r>
            <a:r>
              <a:rPr lang="zh-CN" altLang="en-US" dirty="0"/>
              <a:t>，让一切</a:t>
            </a:r>
            <a:r>
              <a:rPr lang="zh-CN" altLang="en-US" b="1" dirty="0"/>
              <a:t>有据可循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6975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zh-CN" altLang="en-US" b="0" dirty="0">
                <a:sym typeface="+mn-lt"/>
              </a:rPr>
              <a:t>自己如何实现一个</a:t>
            </a:r>
            <a:r>
              <a:rPr lang="en-US" altLang="zh-CN" b="0" dirty="0" smtClean="0">
                <a:sym typeface="+mn-lt"/>
              </a:rPr>
              <a:t>redux</a:t>
            </a:r>
            <a:br>
              <a:rPr lang="en-US" altLang="zh-CN" b="0" dirty="0" smtClean="0">
                <a:sym typeface="+mn-lt"/>
              </a:rPr>
            </a:br>
            <a:endParaRPr lang="en-US" altLang="zh-CN" b="0" dirty="0"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755341" y="3227294"/>
            <a:ext cx="59525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/>
              <a:t>https://shimo.im/docs/X96vVJTdGD6vXjdr/ 《</a:t>
            </a:r>
            <a:r>
              <a:rPr lang="zh-CN" altLang="en-US"/>
              <a:t>实现一个</a:t>
            </a:r>
            <a:r>
              <a:rPr lang="en-US" altLang="zh-CN"/>
              <a:t>redux》</a:t>
            </a:r>
            <a:r>
              <a:rPr lang="zh-CN" altLang="en-US"/>
              <a:t>，可复制链接后用石墨文档 </a:t>
            </a:r>
            <a:r>
              <a:rPr lang="en-US" altLang="zh-CN"/>
              <a:t>App </a:t>
            </a:r>
            <a:r>
              <a:rPr lang="zh-CN" altLang="en-US"/>
              <a:t>打开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030955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69925" y="2093952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i="1" dirty="0">
                <a:solidFill>
                  <a:schemeClr val="accent1"/>
                </a:solidFill>
              </a:rPr>
              <a:t>Thanks</a:t>
            </a:r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lang="en-US" altLang="zh-CN" sz="4800" dirty="0"/>
              <a:t>And Your Slogan Here</a:t>
            </a:r>
            <a:endParaRPr lang="zh-CN" altLang="en-US" sz="48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69925" y="5929592"/>
            <a:ext cx="10845798" cy="310871"/>
          </a:xfrm>
        </p:spPr>
        <p:txBody>
          <a:bodyPr/>
          <a:lstStyle/>
          <a:p>
            <a:r>
              <a:rPr lang="en-US" altLang="zh-CN" b="1" i="1" dirty="0"/>
              <a:t>www.islide.cc</a:t>
            </a:r>
            <a:endParaRPr lang="en-US" altLang="en-US" b="1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3953293"/>
            <a:ext cx="10845798" cy="296271"/>
          </a:xfrm>
        </p:spPr>
        <p:txBody>
          <a:bodyPr/>
          <a:lstStyle/>
          <a:p>
            <a:r>
              <a:rPr lang="en-US" altLang="zh-CN" b="1" i="1" dirty="0"/>
              <a:t>Speaker name and title</a:t>
            </a:r>
          </a:p>
        </p:txBody>
      </p:sp>
      <p:sp>
        <p:nvSpPr>
          <p:cNvPr id="8" name="矩形 7">
            <a:extLst>
              <a:ext uri="{FF2B5EF4-FFF2-40B4-BE49-F238E27FC236}">
                <a16:creationId xmlns="" xmlns:a16="http://schemas.microsoft.com/office/drawing/2014/main" id="{ED16DD83-DABB-4D21-A089-E46E75C16799}"/>
              </a:ext>
            </a:extLst>
          </p:cNvPr>
          <p:cNvSpPr/>
          <p:nvPr/>
        </p:nvSpPr>
        <p:spPr>
          <a:xfrm rot="2157018" flipH="1">
            <a:off x="7776487" y="2581540"/>
            <a:ext cx="149271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>
                <a:solidFill>
                  <a:schemeClr val="tx2"/>
                </a:solidFill>
              </a:rPr>
              <a:t>iSlide</a:t>
            </a:r>
            <a:r>
              <a:rPr lang="en-US" altLang="zh-CN" baseline="30000" dirty="0">
                <a:solidFill>
                  <a:schemeClr val="tx2"/>
                </a:solidFill>
              </a:rPr>
              <a:t>®</a:t>
            </a:r>
          </a:p>
          <a:p>
            <a:pPr algn="ctr"/>
            <a:r>
              <a:rPr lang="en-US" altLang="zh-CN" dirty="0">
                <a:solidFill>
                  <a:schemeClr val="tx2"/>
                </a:solidFill>
              </a:rPr>
              <a:t> PowerPoint </a:t>
            </a:r>
            <a:endParaRPr lang="zh-CN" alt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9074b4e-ced9-4843-9745-1ebab0eb865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50B"/>
      </a:accent1>
      <a:accent2>
        <a:srgbClr val="000000"/>
      </a:accent2>
      <a:accent3>
        <a:srgbClr val="EA9600"/>
      </a:accent3>
      <a:accent4>
        <a:srgbClr val="906500"/>
      </a:accent4>
      <a:accent5>
        <a:srgbClr val="7F7F7F"/>
      </a:accent5>
      <a:accent6>
        <a:srgbClr val="59595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69</TotalTime>
  <Words>328</Words>
  <Application>Microsoft Office PowerPoint</Application>
  <PresentationFormat>宽屏</PresentationFormat>
  <Paragraphs>39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8" baseType="lpstr">
      <vt:lpstr>宋体</vt:lpstr>
      <vt:lpstr>Microsoft YaHei</vt:lpstr>
      <vt:lpstr>Microsoft YaHei</vt:lpstr>
      <vt:lpstr>Arial</vt:lpstr>
      <vt:lpstr>Calibri</vt:lpstr>
      <vt:lpstr>Impact</vt:lpstr>
      <vt:lpstr>Wingdings</vt:lpstr>
      <vt:lpstr>主题5</vt:lpstr>
      <vt:lpstr>think-cell Slide</vt:lpstr>
      <vt:lpstr>Redux分享</vt:lpstr>
      <vt:lpstr>PowerPoint 演示文稿</vt:lpstr>
      <vt:lpstr>Redux是什么</vt:lpstr>
      <vt:lpstr>PowerPoint 演示文稿</vt:lpstr>
      <vt:lpstr>为什么要使用redux </vt:lpstr>
      <vt:lpstr>1.业务角度</vt:lpstr>
      <vt:lpstr>2.框架角度</vt:lpstr>
      <vt:lpstr>自己如何实现一个redux 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ND</cp:lastModifiedBy>
  <cp:revision>14</cp:revision>
  <cp:lastPrinted>2018-12-02T16:00:00Z</cp:lastPrinted>
  <dcterms:created xsi:type="dcterms:W3CDTF">2018-12-02T16:00:00Z</dcterms:created>
  <dcterms:modified xsi:type="dcterms:W3CDTF">2019-08-06T03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